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91" r:id="rId4"/>
  </p:sldMasterIdLst>
  <p:notesMasterIdLst>
    <p:notesMasterId r:id="rId12"/>
  </p:notesMasterIdLst>
  <p:handoutMasterIdLst>
    <p:handoutMasterId r:id="rId13"/>
  </p:handoutMasterIdLst>
  <p:sldIdLst>
    <p:sldId id="296" r:id="rId5"/>
    <p:sldId id="294" r:id="rId6"/>
    <p:sldId id="295" r:id="rId7"/>
    <p:sldId id="297" r:id="rId8"/>
    <p:sldId id="298" r:id="rId9"/>
    <p:sldId id="299" r:id="rId10"/>
    <p:sldId id="300" r:id="rId11"/>
  </p:sldIdLst>
  <p:sldSz cx="12192000" cy="6858000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DFDS" panose="020B0604020202020204" charset="0"/>
      <p:regular r:id="rId18"/>
      <p:bold r:id="rId19"/>
      <p:italic r:id="rId20"/>
    </p:embeddedFont>
    <p:embeddedFont>
      <p:font typeface="DFDS Bold" panose="020B0604020202020204" charset="0"/>
      <p:bold r:id="rId21"/>
      <p:italic r:id="rId22"/>
    </p:embeddedFont>
    <p:embeddedFont>
      <p:font typeface="DFDS Light" panose="020B0604020202020204" charset="0"/>
      <p:regular r:id="rId2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97">
          <p15:clr>
            <a:srgbClr val="A4A3A4"/>
          </p15:clr>
        </p15:guide>
        <p15:guide id="4" orient="horz" pos="776">
          <p15:clr>
            <a:srgbClr val="A4A3A4"/>
          </p15:clr>
        </p15:guide>
        <p15:guide id="5" orient="horz" pos="4133" userDrawn="1">
          <p15:clr>
            <a:srgbClr val="A4A3A4"/>
          </p15:clr>
        </p15:guide>
        <p15:guide id="6" orient="horz" pos="3876">
          <p15:clr>
            <a:srgbClr val="A4A3A4"/>
          </p15:clr>
        </p15:guide>
        <p15:guide id="7" pos="233">
          <p15:clr>
            <a:srgbClr val="A4A3A4"/>
          </p15:clr>
        </p15:guide>
        <p15:guide id="8" pos="7454">
          <p15:clr>
            <a:srgbClr val="A4A3A4"/>
          </p15:clr>
        </p15:guide>
        <p15:guide id="9" pos="3727" userDrawn="1">
          <p15:clr>
            <a:srgbClr val="A4A3A4"/>
          </p15:clr>
        </p15:guide>
        <p15:guide id="10" pos="395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2B45"/>
    <a:srgbClr val="F0F2F4"/>
    <a:srgbClr val="44546A"/>
    <a:srgbClr val="4D6B7D"/>
    <a:srgbClr val="FFE8D2"/>
    <a:srgbClr val="ABD3F2"/>
    <a:srgbClr val="99B9CC"/>
    <a:srgbClr val="FFD1A5"/>
    <a:srgbClr val="80B7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DA289F-1985-60D3-FCF1-119830187278}" v="36" dt="2021-02-09T19:30:03.978"/>
    <p1510:client id="{13DC89CE-2462-A3F0-2A37-40B86BE4B73F}" v="1" dt="2021-02-17T07:33:27.910"/>
    <p1510:client id="{2E8AA0E1-EC3D-11EB-35CF-19CCCC1075D6}" v="168" dt="2021-03-03T09:46:06.934"/>
    <p1510:client id="{424FB152-19C6-4ADB-FFBE-BF0D7D372832}" v="226" dt="2021-01-19T19:50:16.882"/>
    <p1510:client id="{54072B20-3256-5B7C-01AF-90761DD36ABD}" v="1" dt="2021-08-26T11:53:38.010"/>
    <p1510:client id="{62DA98E2-8E10-C441-4FF0-39A8B81146ED}" v="55" dt="2021-06-03T07:49:38.686"/>
    <p1510:client id="{651FC020-B7ED-ABEB-4D7C-6485E7DCDE69}" v="7" dt="2021-02-10T13:56:21.456"/>
    <p1510:client id="{6920BCA9-A77A-D2E8-D700-CA0DAF9FC0B8}" v="1102" dt="2021-08-26T08:36:11.202"/>
    <p1510:client id="{70F620FA-DCE0-93F2-7240-5BA8188B22EC}" v="4" dt="2021-08-27T06:44:24.875"/>
    <p1510:client id="{96AF979F-1AF8-3F0C-4312-B5B099E1F84E}" v="34" dt="2021-01-20T11:45:04.681"/>
    <p1510:client id="{98C6A977-D454-1E9F-F1F5-03B24045ACC9}" v="139" dt="2021-02-10T13:03:38.764"/>
    <p1510:client id="{9D17774E-644D-B31A-DEC6-381AE2B453D1}" v="485" dt="2021-04-28T11:13:27.131"/>
    <p1510:client id="{AA6BC70C-010D-874D-8C53-5F81036E0A41}" v="50" dt="2021-06-24T11:58:24.922"/>
    <p1510:client id="{AE4169BD-F92E-A68E-EBB4-792D34D8EA40}" v="714" dt="2021-01-19T22:10:15.892"/>
    <p1510:client id="{B01CCF87-1472-400E-8FC5-6E5AFC249F4C}" v="27" dt="2021-04-28T11:57:17.542"/>
    <p1510:client id="{DDF53F73-E750-1ABD-CEAF-E353BE7C30AB}" v="1340" dt="2021-04-06T19:53:43.1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>
        <p:guide orient="horz" pos="2160"/>
        <p:guide pos="3840"/>
        <p:guide orient="horz" pos="97"/>
        <p:guide orient="horz" pos="776"/>
        <p:guide orient="horz" pos="4133"/>
        <p:guide orient="horz" pos="3876"/>
        <p:guide pos="233"/>
        <p:guide pos="7454"/>
        <p:guide pos="3727"/>
        <p:guide pos="395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8.fntdata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40F470-726F-426E-889A-8E92A4693460}" type="datetimeFigureOut">
              <a:rPr lang="en-GB" smtClean="0"/>
              <a:t>26/08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878E9-47B1-4362-B238-A547D75475E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847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D72A38B-F9FA-4036-A084-652409E98F08}" type="datetimeFigureOut">
              <a:rPr lang="en-GB" smtClean="0"/>
              <a:pPr/>
              <a:t>26/08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49436F85-577F-4A92-A47F-D540A2BCC82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Standard Ra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25376A01-1BA3-4730-A46A-FE740FEC45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8BBE9CC9-C2F8-4065-9369-F387DC1BE2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8539" y="5957887"/>
            <a:ext cx="1357889" cy="469107"/>
          </a:xfrm>
          <a:prstGeom prst="rect">
            <a:avLst/>
          </a:prstGeom>
        </p:spPr>
      </p:pic>
      <p:sp>
        <p:nvSpPr>
          <p:cNvPr id="27" name="Picture Placeholder 49">
            <a:extLst>
              <a:ext uri="{FF2B5EF4-FFF2-40B4-BE49-F238E27FC236}">
                <a16:creationId xmlns:a16="http://schemas.microsoft.com/office/drawing/2014/main" id="{568B4A00-CFC1-4987-A659-1CBC9E43B1B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222251" y="209550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529261 h 6419849"/>
              <a:gd name="connsiteX3" fmla="*/ 10334057 w 11755436"/>
              <a:gd name="connsiteY3" fmla="*/ 5529261 h 6419849"/>
              <a:gd name="connsiteX4" fmla="*/ 9807737 w 11755436"/>
              <a:gd name="connsiteY4" fmla="*/ 6419849 h 6419849"/>
              <a:gd name="connsiteX5" fmla="*/ 0 w 11755436"/>
              <a:gd name="connsiteY5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529261"/>
                </a:lnTo>
                <a:lnTo>
                  <a:pt x="10334057" y="5529261"/>
                </a:lnTo>
                <a:lnTo>
                  <a:pt x="9807737" y="6419849"/>
                </a:lnTo>
                <a:lnTo>
                  <a:pt x="0" y="6419849"/>
                </a:lnTo>
                <a:close/>
              </a:path>
            </a:pathLst>
          </a:cu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2808000" anchor="b">
            <a:noAutofit/>
          </a:bodyPr>
          <a:lstStyle>
            <a:lvl1pPr marL="0" indent="0" algn="ctr">
              <a:buNone/>
              <a:defRPr sz="1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605AB99C-CBB9-4429-B06B-09C293E43B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222251" y="209550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529261 h 6419849"/>
              <a:gd name="connsiteX3" fmla="*/ 10334057 w 11755436"/>
              <a:gd name="connsiteY3" fmla="*/ 5529261 h 6419849"/>
              <a:gd name="connsiteX4" fmla="*/ 9807737 w 11755436"/>
              <a:gd name="connsiteY4" fmla="*/ 6419849 h 6419849"/>
              <a:gd name="connsiteX5" fmla="*/ 0 w 11755436"/>
              <a:gd name="connsiteY5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529261"/>
                </a:lnTo>
                <a:lnTo>
                  <a:pt x="10334057" y="5529261"/>
                </a:lnTo>
                <a:lnTo>
                  <a:pt x="9807737" y="6419849"/>
                </a:lnTo>
                <a:lnTo>
                  <a:pt x="0" y="6419849"/>
                </a:lnTo>
                <a:close/>
              </a:path>
            </a:pathLst>
          </a:custGeom>
          <a:noFill/>
        </p:spPr>
        <p:txBody>
          <a:bodyPr wrap="square" tIns="2808000" anchor="b">
            <a:noAutofit/>
          </a:bodyPr>
          <a:lstStyle>
            <a:lvl1pPr marL="0" indent="0" algn="ctr">
              <a:buNone/>
              <a:defRPr sz="1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3E53E-15BB-410F-84DC-A4E767EAC5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42913" y="1116806"/>
            <a:ext cx="5720143" cy="1791494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</a:t>
            </a:r>
            <a:br>
              <a:rPr lang="en-GB"/>
            </a:br>
            <a:r>
              <a:rPr lang="en-GB"/>
              <a:t>- max 2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2922EC-38A5-403F-83E6-ABDC3CB844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42913" y="3209132"/>
            <a:ext cx="4970335" cy="2492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DFDS Bold" panose="020000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F0C848-94FD-442C-838B-C222A10824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2914" y="538163"/>
            <a:ext cx="5720143" cy="2778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DFDS" panose="00000500000000000000" pitchFamily="2" charset="0"/>
              <a:buNone/>
              <a:tabLst/>
              <a:defRPr sz="1800" b="1">
                <a:solidFill>
                  <a:schemeClr val="accent3"/>
                </a:solidFill>
              </a:defRPr>
            </a:lvl1pPr>
            <a:lvl2pPr marL="0" indent="0">
              <a:buNone/>
              <a:defRPr sz="1800" b="1">
                <a:solidFill>
                  <a:schemeClr val="accent3"/>
                </a:solidFill>
              </a:defRPr>
            </a:lvl2pPr>
            <a:lvl3pPr marL="0" indent="0">
              <a:buNone/>
              <a:defRPr sz="1800" b="1">
                <a:solidFill>
                  <a:schemeClr val="accent3"/>
                </a:solidFill>
              </a:defRPr>
            </a:lvl3pPr>
            <a:lvl4pPr marL="0" indent="0">
              <a:buNone/>
              <a:defRPr sz="1800" b="1">
                <a:solidFill>
                  <a:schemeClr val="accent3"/>
                </a:solidFill>
              </a:defRPr>
            </a:lvl4pPr>
            <a:lvl5pPr marL="0" indent="0">
              <a:buNone/>
              <a:defRPr sz="1800" b="1">
                <a:solidFill>
                  <a:schemeClr val="accent3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DFDS" panose="00000500000000000000" pitchFamily="2" charset="0"/>
              <a:buNone/>
              <a:tabLst/>
              <a:defRPr/>
            </a:pPr>
            <a:r>
              <a:rPr lang="en-GB"/>
              <a:t>Click to add dat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62DF723-94BA-4B14-AB80-6919FF216FF6}"/>
              </a:ext>
            </a:extLst>
          </p:cNvPr>
          <p:cNvGrpSpPr/>
          <p:nvPr/>
        </p:nvGrpSpPr>
        <p:grpSpPr bwMode="gray">
          <a:xfrm>
            <a:off x="-3439886" y="68474"/>
            <a:ext cx="3312886" cy="1759416"/>
            <a:chOff x="-3451566" y="560902"/>
            <a:chExt cx="3146766" cy="1759416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694C025-ED44-43AD-8030-8D668C4EF779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14927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lect the overlay (the ray and the echo) by clicking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on the blue part in the bottom-left corner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overlay and select Send to Back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outside the slide to de-select the overlay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w select the picture and delete it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picture icon and insert another picture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inserted picture and choose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nd to Back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1CF59EC-02F6-4109-A82A-E40940C26FAC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change the existing pictur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22750573-BF4F-469C-BF73-59B41C816FD0}"/>
              </a:ext>
            </a:extLst>
          </p:cNvPr>
          <p:cNvSpPr txBox="1">
            <a:spLocks/>
          </p:cNvSpPr>
          <p:nvPr/>
        </p:nvSpPr>
        <p:spPr bwMode="gray">
          <a:xfrm>
            <a:off x="-3433507" y="3292231"/>
            <a:ext cx="3185671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Refer to the guidelines in this template </a:t>
            </a:r>
            <a:b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</a:b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in order to </a:t>
            </a:r>
            <a:r>
              <a:rPr lang="en-GB" sz="1200" b="1">
                <a:solidFill>
                  <a:schemeClr val="accent1"/>
                </a:solidFill>
                <a:latin typeface="DFDS Light" panose="02000000000000000000" pitchFamily="50" charset="0"/>
              </a:rPr>
              <a:t>crop, scale and resize pictures</a:t>
            </a: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F86E6EF-B20C-48FA-9AD7-8F4CF9314273}"/>
              </a:ext>
            </a:extLst>
          </p:cNvPr>
          <p:cNvGrpSpPr/>
          <p:nvPr/>
        </p:nvGrpSpPr>
        <p:grpSpPr bwMode="gray">
          <a:xfrm>
            <a:off x="-3439886" y="2191304"/>
            <a:ext cx="3312886" cy="759143"/>
            <a:chOff x="-3451566" y="560902"/>
            <a:chExt cx="3146766" cy="759143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5C21AB7-294B-4A84-9D45-16CFF695FA68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picture icon and insert a picture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inserted picture and choose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nd to Back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911B80D-2F06-4C21-87E9-5B9AF09ABA6C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insert a picture on a new title slid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67C0E73-D5CC-4D7B-B8C6-43456C64E8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11753" y="1049413"/>
            <a:ext cx="1480494" cy="1480494"/>
          </a:xfrm>
          <a:prstGeom prst="ellipse">
            <a:avLst/>
          </a:prstGeom>
          <a:solidFill>
            <a:srgbClr val="FF0000"/>
          </a:solidFill>
        </p:spPr>
        <p:txBody>
          <a:bodyPr lIns="0" tIns="0" rIns="0" bIns="0"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  <a:lvl2pPr marL="180975" indent="0" algn="ctr">
              <a:buNone/>
              <a:defRPr>
                <a:solidFill>
                  <a:schemeClr val="bg1"/>
                </a:solidFill>
              </a:defRPr>
            </a:lvl2pPr>
            <a:lvl3pPr marL="361950" indent="0" algn="ctr">
              <a:buNone/>
              <a:defRPr>
                <a:solidFill>
                  <a:schemeClr val="bg1"/>
                </a:solidFill>
              </a:defRPr>
            </a:lvl3pPr>
            <a:lvl4pPr marL="361950" indent="0" algn="ctr">
              <a:buNone/>
              <a:defRPr>
                <a:solidFill>
                  <a:schemeClr val="bg1"/>
                </a:solidFill>
              </a:defRPr>
            </a:lvl4pPr>
            <a:lvl5pPr marL="36195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Read and delete: This layout is only to be used for title slides</a:t>
            </a:r>
          </a:p>
        </p:txBody>
      </p:sp>
    </p:spTree>
    <p:extLst>
      <p:ext uri="{BB962C8B-B14F-4D97-AF65-F5344CB8AC3E}">
        <p14:creationId xmlns:p14="http://schemas.microsoft.com/office/powerpoint/2010/main" val="562369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35D3BF5-9047-4E1C-B246-901166A0B89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42913" y="1630866"/>
            <a:ext cx="647700" cy="6477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29A1BD4A-A4A7-4CCF-891E-C7191AFA3F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42913" y="3228132"/>
            <a:ext cx="647700" cy="6477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12637C21-A386-4153-9319-89DB5E3D27A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42913" y="4825397"/>
            <a:ext cx="647700" cy="6477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1A58260A-38C8-47C5-AD75-E4C6D4E4AF8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308270" y="1630866"/>
            <a:ext cx="647700" cy="6477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8D58250C-77B1-4723-9DA2-A202A100ADF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308270" y="3228132"/>
            <a:ext cx="647700" cy="6477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F94EF6B3-6D46-4AEA-8468-3927D95F98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308270" y="4825397"/>
            <a:ext cx="647700" cy="6477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D818E49-05F4-484D-AD39-4E58D65F8C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306612" y="1630866"/>
            <a:ext cx="4568725" cy="1237266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956AB2D6-8ED2-4DA7-9FC2-2E0D6B5B9B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306612" y="3228132"/>
            <a:ext cx="4568725" cy="123726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B0F96483-CB0F-4AB7-A410-DFC7CD06A9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306612" y="4825397"/>
            <a:ext cx="4568725" cy="123726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F75A2D36-82B2-4A51-A21F-805645886E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7171970" y="1630866"/>
            <a:ext cx="4568725" cy="123726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D2A42BAD-3AA1-4B6D-8165-B3DBA347184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175500" y="3228132"/>
            <a:ext cx="4568725" cy="123726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A84BC5EA-4E9D-4289-9BFE-A7379A70403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75500" y="4825397"/>
            <a:ext cx="4568725" cy="123726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1D4BD7-BC07-4FA9-A000-33C643D53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665385-6DC5-4C12-95DB-5C31E47B2A02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8985524F-1D27-4003-A49C-C4956DB36159}" type="datetime1">
              <a:rPr lang="en-GB" smtClean="0"/>
              <a:t>26/08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C90FB0-9D04-4C48-96B4-4AA5ED46C621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E3B82A-AE14-410C-80A2-F5AECD1CFF6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72B7177D-5CA7-4320-9EFC-57AD32A2ED4A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322375D-0400-44E2-9461-BECB52161B72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FDF2DB6-2413-4ECC-B678-C4438E02A9B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E73A2B3-538A-400D-95BE-C6928A6D9A5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E6CF3AA-A1C6-4DC2-95F0-F3330593C72E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20740C11-E035-4704-B68B-D74507E3302D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F175CFD-81B9-4D63-8FDF-0A757F187D8A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83DE217-7978-40AB-9849-05801121731C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AF901DA-F0C9-4124-B978-B0A1E55006BC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3619B2E7-E2C6-4E3A-988F-76CF8D9050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C6CDD07-C5E5-4FA5-97A4-EB5BE13ACF1E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12675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3" pos="3702">
          <p15:clr>
            <a:srgbClr val="FBAE40"/>
          </p15:clr>
        </p15:guide>
        <p15:guide id="4" pos="3974">
          <p15:clr>
            <a:srgbClr val="FBAE40"/>
          </p15:clr>
        </p15:guide>
        <p15:guide id="5" pos="689">
          <p15:clr>
            <a:srgbClr val="FBAE40"/>
          </p15:clr>
        </p15:guide>
        <p15:guide id="6" pos="4383">
          <p15:clr>
            <a:srgbClr val="FBAE40"/>
          </p15:clr>
        </p15:guide>
        <p15:guide id="7" pos="822">
          <p15:clr>
            <a:srgbClr val="FBAE40"/>
          </p15:clr>
        </p15:guide>
        <p15:guide id="8" pos="451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subhead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86ABAC-8AF5-4319-8165-37C84CC3885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42913" y="1628775"/>
            <a:ext cx="5437088" cy="443198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11974F-B973-477B-8A3D-B9C5B69C7E9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 bwMode="gray">
          <a:xfrm>
            <a:off x="6312001" y="1628775"/>
            <a:ext cx="5437088" cy="443198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35D3BF5-9047-4E1C-B246-901166A0B89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42913" y="2241549"/>
            <a:ext cx="647700" cy="6477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12637C21-A386-4153-9319-89DB5E3D27A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42913" y="4332106"/>
            <a:ext cx="650295" cy="6477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1A58260A-38C8-47C5-AD75-E4C6D4E4AF8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308270" y="2241550"/>
            <a:ext cx="647700" cy="6477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F94EF6B3-6D46-4AEA-8468-3927D95F98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308270" y="4332106"/>
            <a:ext cx="647700" cy="6477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2CDC845B-14C4-4DD0-958A-4D0DF926359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306612" y="2241548"/>
            <a:ext cx="4573487" cy="1730556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B4A62619-3164-42EA-87A6-120CFAA9EF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306612" y="4332105"/>
            <a:ext cx="4573487" cy="1730556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A27230C0-2AB1-47A3-BC22-3AB3B41FAC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175499" y="2241550"/>
            <a:ext cx="4573487" cy="1730557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2230B3F4-3E09-4E2A-911D-41981371FBB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175499" y="4332106"/>
            <a:ext cx="4573487" cy="1730557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1E571D-CF1F-48A4-A05A-061FF85D2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861B89-78F2-423C-9B3E-4A1C1441F75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6ACC4AC9-6711-4FA0-AB2C-C583E466F7D2}" type="datetime1">
              <a:rPr lang="en-GB" smtClean="0"/>
              <a:t>26/08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F03BDD-AF1E-477C-BC63-2F5F57BA3CC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E34F463-8382-45BD-BA89-42E9E1CB42BD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7E17B1CC-112F-4A7C-BA31-DB706312DC14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8D128D7-6A20-4CDF-949D-2A28BCF1BD2C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9DD9600-D1B3-4F97-BC1C-3F87948CAD9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96BA0AA-66A2-4085-B5B3-AEA07D7002E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DD0CF8D-29BB-481E-9237-2575C68F7CCD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1EBF1B1E-A30B-45BF-9739-A6BEDE6BA6EF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32B9E20-5413-4DFA-86EF-D954B3293950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47F44C4-86DA-414E-9AD1-2CCDFBA0A2EF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15EA125-C71E-4F9E-83B9-465A8DC3FCE6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E181F74E-5A91-4177-B3B3-8574299792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7C33569-EC37-4F25-916F-C1D420AA7062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55865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orient="horz" pos="1308">
          <p15:clr>
            <a:srgbClr val="FBAE40"/>
          </p15:clr>
        </p15:guide>
        <p15:guide id="2" orient="horz" pos="1412">
          <p15:clr>
            <a:srgbClr val="FBAE40"/>
          </p15:clr>
        </p15:guide>
        <p15:guide id="3" pos="3705">
          <p15:clr>
            <a:srgbClr val="FBAE40"/>
          </p15:clr>
        </p15:guide>
        <p15:guide id="4" pos="3975">
          <p15:clr>
            <a:srgbClr val="FBAE40"/>
          </p15:clr>
        </p15:guide>
        <p15:guide id="5" pos="689">
          <p15:clr>
            <a:srgbClr val="FBAE40"/>
          </p15:clr>
        </p15:guide>
        <p15:guide id="6" pos="4383">
          <p15:clr>
            <a:srgbClr val="FBAE40"/>
          </p15:clr>
        </p15:guide>
        <p15:guide id="7" pos="822">
          <p15:clr>
            <a:srgbClr val="FBAE40"/>
          </p15:clr>
        </p15:guide>
        <p15:guide id="8" pos="45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uble + single column with subhead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86ABAC-8AF5-4319-8165-37C84CC3885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42913" y="1628775"/>
            <a:ext cx="7323137" cy="443198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D59B0F-0EAD-449B-A851-823C2FDBD24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3" y="2241551"/>
            <a:ext cx="7323137" cy="382111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11974F-B973-477B-8A3D-B9C5B69C7E9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 bwMode="gray">
          <a:xfrm>
            <a:off x="8193615" y="1628775"/>
            <a:ext cx="3555473" cy="443198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6860F54D-583C-48F7-9368-76864DCEA18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193614" y="2241551"/>
            <a:ext cx="432000" cy="4320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3D2C46F9-06D0-49D6-BF01-4BEEA1A9519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8193615" y="3635255"/>
            <a:ext cx="432000" cy="4320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5DA554B7-45EE-42DD-8A4E-5EEE57FD4D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93614" y="5028959"/>
            <a:ext cx="432000" cy="432000"/>
          </a:xfrm>
        </p:spPr>
        <p:txBody>
          <a:bodyPr tIns="36000"/>
          <a:lstStyle>
            <a:lvl1pPr marL="0" indent="0" algn="ctr">
              <a:buNone/>
              <a:defRPr sz="8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23AD7F8-BF29-4AD0-B050-F6F38EA0156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773322" y="2241551"/>
            <a:ext cx="2975765" cy="1033704"/>
          </a:xfrm>
        </p:spPr>
        <p:txBody>
          <a:bodyPr wrap="square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64952966-5502-4385-B0F5-B5B874C8A6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773322" y="3635255"/>
            <a:ext cx="2975765" cy="1033704"/>
          </a:xfrm>
        </p:spPr>
        <p:txBody>
          <a:bodyPr wrap="square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31396256-1710-4527-AF10-688A3FAB06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773322" y="5028959"/>
            <a:ext cx="2975765" cy="1033704"/>
          </a:xfrm>
        </p:spPr>
        <p:txBody>
          <a:bodyPr wrap="square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7262D7-4248-4F05-AAED-312974F3A2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 – max 2 lin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AA1981-DE8A-41F8-BB5C-84D2FCA9702A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48FF6C95-01DF-4A93-9B8F-5B0A42515EF9}" type="datetime1">
              <a:rPr lang="en-GB" smtClean="0"/>
              <a:t>26/08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F0A780-EE86-43CD-94C5-E002638EC24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4695A9-BABC-4CC5-8A76-32278A20A4F1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B9CD512-5354-4EB3-92A5-07B21A866FFC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5873B73-2183-4C43-B598-0F32A5CB15B8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64BEE0A-8E1E-4C5D-924A-51A46DE0956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E1F4E97-7550-4A7C-BA2D-E1A2BC91BA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CE45EBB-5EB9-486F-9342-6AC6447DA7F0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53619C9C-D32F-4B19-BFCE-C27C99689B0A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FD6A2A4-F62A-4119-8E72-61B375E42F9F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92A3CC6-90B5-43D9-9BAA-97FEE2D1E045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41CC308-56D5-4998-BFBB-B5A0DC072537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23CAA4A4-4E8D-4710-A575-F62ACD85ABA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006E63A-D34A-44E2-A2A5-DA0385A20352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08590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orient="horz" pos="1308">
          <p15:clr>
            <a:srgbClr val="FBAE40"/>
          </p15:clr>
        </p15:guide>
        <p15:guide id="2" orient="horz" pos="1412">
          <p15:clr>
            <a:srgbClr val="FBAE40"/>
          </p15:clr>
        </p15:guide>
        <p15:guide id="4" pos="4892">
          <p15:clr>
            <a:srgbClr val="FBAE40"/>
          </p15:clr>
        </p15:guide>
        <p15:guide id="5" pos="5433">
          <p15:clr>
            <a:srgbClr val="FBAE40"/>
          </p15:clr>
        </p15:guide>
        <p15:guide id="6" pos="5160">
          <p15:clr>
            <a:srgbClr val="FBAE40"/>
          </p15:clr>
        </p15:guide>
        <p15:guide id="7" pos="552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89293F-C27C-487B-9F96-75B20B279A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 – max 2 lines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C6BA003-6164-45CF-B9D3-7AA1170BA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0912A0-F148-4519-9BB8-B439AC88A39C}" type="datetime1">
              <a:rPr lang="en-GB" smtClean="0"/>
              <a:t>26/08/2021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CA561AD-B747-4CFD-ACFB-1EABF80F5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538373-311C-431F-B62E-B5C3DB096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D9A9C2C2-DCDF-43D5-B560-45DE896C4AD7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86B824B-C137-4408-B714-E1F883052C8F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65C0EFB-4C14-416B-8657-078AB3B24D8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2061947-6C78-4685-B864-51A0A7EED6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B631A64-2906-4767-A357-5859CB2AB264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7FEF5A3F-4B4E-4436-93AC-3C1F20F39937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B301E74-7E21-4741-BBFD-1453904B8017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4C91BDF-332D-4A3E-9B7E-11F832DC0D5F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AEC100E-E7AC-43E2-AA47-133FBC6D7243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06DD3DDF-979D-4E15-9D77-1B107004B7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082224B-523B-4A07-B1F5-D67F0C6BE657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91982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421A50B1-019B-4A96-9D60-6A39C8D5C92F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42913" y="1636751"/>
            <a:ext cx="11306175" cy="442591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CEEFCF-159E-4D7D-BC74-408A3F8AB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24F47F-A3A7-4B6A-903D-3FB8DFCFF6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C9EE2-CDEE-4F25-A5B2-4F07B1B87DFB}" type="datetime1">
              <a:rPr lang="en-GB" smtClean="0"/>
              <a:t>26/08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96A4A4-50E1-427B-B315-9AB667A8A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BE8179-7C80-4E15-9FBC-29E2B0A93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2EAA0BE0-FDAC-4870-A723-917B86D38BE7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7EFF488-E0CB-4B08-9383-C3D096875623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A2C278A-210F-4249-9DC2-2E40760C441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3AB5500-5748-427A-800C-3714B047715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A49C518-2438-433D-8D24-80E5D65C3B79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A338DD29-5890-45D7-B833-669B1E1CFFF2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E5BF2EB-D050-49CE-A95D-428F715D2331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454DADC-1C00-4968-9EF4-54475E1585F0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DACB213-ED9D-4DE0-BA42-CDAEFCBE2484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ACF750DE-1506-4AFE-8F65-64165FCAF9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5036CF5-A3C0-477A-A976-A2427E8318CD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9236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D59B0F-0EAD-449B-A851-823C2FDBD24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2" y="1636752"/>
            <a:ext cx="5437088" cy="442591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C9F3D365-81A4-40AF-9C10-9C1DF08A2880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 bwMode="gray">
          <a:xfrm>
            <a:off x="6312001" y="1636751"/>
            <a:ext cx="5437088" cy="44259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2D4CD2-0AEC-4055-A377-2F5C1A764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F23ACE-7235-45D1-8027-6EA8C67B34D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C3062C3-88DD-4EA5-A234-1F68601FD704}" type="datetime1">
              <a:rPr lang="en-GB" smtClean="0"/>
              <a:t>26/08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E7D4F5-0562-4665-AE9D-5E9F3A2BE9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DF82A7-7A58-4F7B-9619-BA131D7A55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8F9D2358-8BE3-434C-BEBC-2C912DAF73DA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6303C08-A5A0-433A-B2CE-0ADDA5AD05E8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7BADC77-1560-4768-9C24-4403C571C8F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08AD380-CED5-4AFB-9554-7F4FFCEC6E1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1CE711F-38E2-4BE2-958D-4B849ED4B502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A8290D8-5DF6-45AF-859C-69A398CD2017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5AF00DD-9919-43A7-B53B-6C865C12DE5F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2614BE8-48D5-4FA1-80E0-87DFCD26467F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31C17B9-6B08-491A-88F1-FBEE8AE119D3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2AF6C0AD-415C-44C7-A286-7898CAAF7C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657BBAE5-7A06-4C9B-BE2B-B8756E5CDF44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493770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D59B0F-0EAD-449B-A851-823C2FDBD24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3" y="1636752"/>
            <a:ext cx="3480726" cy="442590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6AE3B184-B29C-4339-B1AE-8C2C42D2E079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 bwMode="gray">
          <a:xfrm>
            <a:off x="8268363" y="1636753"/>
            <a:ext cx="3480726" cy="4425909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EFE8EA0-150E-440B-9384-5DDDD7EF4EE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 bwMode="gray">
          <a:xfrm>
            <a:off x="4355638" y="1636752"/>
            <a:ext cx="3480726" cy="442590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2605F5-BFBB-4119-B1FA-BD46F8FF4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FE803A-EFCF-4DFB-A7D2-E7646A0D8E4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B28F1D5-E569-435A-9D5B-A42A648F3F98}" type="datetime1">
              <a:rPr lang="en-GB" smtClean="0"/>
              <a:t>26/08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551CD0-96AD-4970-BE78-F4AC4BF220D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5BF8B-D27F-4DE7-BD59-7D8C6BAC675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5BB64FE7-E9C1-4C48-B223-4DD16A39D9ED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248EF19-65C3-4AA3-BBE8-CCDE836EBF25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42239F7-36E0-4910-8761-0380C8A3208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B10422D-DE68-4189-9DE2-B519F73901C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4AF13A6-9A2E-484D-9519-CE838D72CE90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BA6A50C-8449-4371-82B2-71C9B3E00623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D2FB568-5EE0-473F-8989-535BBD780D4D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62DF753-15DA-4E2D-BEF5-E6E0EAB6F6A7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B185220-C1CB-4D1D-B303-2FDF292E1263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0708C96D-D703-4854-8C2C-F2C0D0F876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7333218-CAFA-47FC-8252-B9840718E57E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23220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3" pos="2472">
          <p15:clr>
            <a:srgbClr val="FBAE40"/>
          </p15:clr>
        </p15:guide>
        <p15:guide id="4" pos="2744">
          <p15:clr>
            <a:srgbClr val="FBAE40"/>
          </p15:clr>
        </p15:guide>
        <p15:guide id="5" pos="4937">
          <p15:clr>
            <a:srgbClr val="FBAE40"/>
          </p15:clr>
        </p15:guide>
        <p15:guide id="6" pos="520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342D381B-10AF-462D-BCBB-A2BFBDBF86C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2" y="1636753"/>
            <a:ext cx="2502544" cy="44259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5D32392-B45C-4D41-BAC4-D15826ABDACE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 bwMode="gray">
          <a:xfrm>
            <a:off x="9246545" y="1636753"/>
            <a:ext cx="2502544" cy="4425909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0057A9E-EE30-460E-B2AE-49A9B4CE609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 bwMode="gray">
          <a:xfrm>
            <a:off x="3377457" y="1636752"/>
            <a:ext cx="2502544" cy="442590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4BDD99D2-5B85-4F34-BF56-C78F359A719A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001" y="1636753"/>
            <a:ext cx="2502544" cy="442590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7C293B-5F41-41CF-B047-CD717C323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B117B4-A9AD-4E71-A826-67BBEC37504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7BA58EF-D001-4849-A482-0CF7D0978C0F}" type="datetime1">
              <a:rPr lang="en-GB" smtClean="0"/>
              <a:t>26/08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1BFD58-7950-4B9B-BD65-83D393D480A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EA318D-F4B7-4F4E-B365-E864AE1EEDF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8653233-D498-46EA-BC77-524CFB17239B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DF70662-4B99-4674-A612-68179EF2012F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3F6B92B-8AD1-4E56-B109-C7F062C709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9FD070C-BE69-4B51-A558-5B938549AB9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C613F3A-1830-4A3C-9B67-4AA8EB3E4A11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4F270E87-0073-42B9-9FE1-64658E258004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DACC70D-FC75-45DB-9F9E-215907D2B335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279D31C-F1BC-4CFC-9040-5130C01B724A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4A1BA23-4767-4F29-9FB5-839048F0DD8D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77A0007F-9B91-4550-AA3D-97F18E80CB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4410579-72B2-4856-A908-BAE39A6EC1DD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7652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3" pos="1856">
          <p15:clr>
            <a:srgbClr val="FBAE40"/>
          </p15:clr>
        </p15:guide>
        <p15:guide id="4" pos="2129">
          <p15:clr>
            <a:srgbClr val="FBAE40"/>
          </p15:clr>
        </p15:guide>
        <p15:guide id="5" pos="5553">
          <p15:clr>
            <a:srgbClr val="FBAE40"/>
          </p15:clr>
        </p15:guide>
        <p15:guide id="6" pos="5825">
          <p15:clr>
            <a:srgbClr val="FBAE40"/>
          </p15:clr>
        </p15:guide>
        <p15:guide id="7" pos="3705">
          <p15:clr>
            <a:srgbClr val="FBAE40"/>
          </p15:clr>
        </p15:guide>
        <p15:guide id="8" pos="397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D59B0F-0EAD-449B-A851-823C2FDBD24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2" y="1636753"/>
            <a:ext cx="5437088" cy="442591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2D4CD2-0AEC-4055-A377-2F5C1A7648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38163"/>
            <a:ext cx="5437187" cy="7755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B357CB3C-2FA2-4D8D-9E64-73CF246CF56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12001" y="219074"/>
            <a:ext cx="5660924" cy="6419849"/>
          </a:xfrm>
          <a:custGeom>
            <a:avLst/>
            <a:gdLst>
              <a:gd name="connsiteX0" fmla="*/ 0 w 5660924"/>
              <a:gd name="connsiteY0" fmla="*/ 0 h 6419849"/>
              <a:gd name="connsiteX1" fmla="*/ 5660924 w 5660924"/>
              <a:gd name="connsiteY1" fmla="*/ 0 h 6419849"/>
              <a:gd name="connsiteX2" fmla="*/ 5660924 w 5660924"/>
              <a:gd name="connsiteY2" fmla="*/ 5960271 h 6419849"/>
              <a:gd name="connsiteX3" fmla="*/ 4927420 w 5660924"/>
              <a:gd name="connsiteY3" fmla="*/ 5960271 h 6419849"/>
              <a:gd name="connsiteX4" fmla="*/ 4655231 w 5660924"/>
              <a:gd name="connsiteY4" fmla="*/ 6417471 h 6419849"/>
              <a:gd name="connsiteX5" fmla="*/ 4656647 w 5660924"/>
              <a:gd name="connsiteY5" fmla="*/ 6419849 h 6419849"/>
              <a:gd name="connsiteX6" fmla="*/ 0 w 5660924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60924" h="6419849">
                <a:moveTo>
                  <a:pt x="0" y="0"/>
                </a:moveTo>
                <a:lnTo>
                  <a:pt x="5660924" y="0"/>
                </a:lnTo>
                <a:lnTo>
                  <a:pt x="5660924" y="5960271"/>
                </a:lnTo>
                <a:lnTo>
                  <a:pt x="4927420" y="5960271"/>
                </a:lnTo>
                <a:lnTo>
                  <a:pt x="4655231" y="6417471"/>
                </a:lnTo>
                <a:lnTo>
                  <a:pt x="4656647" y="6419849"/>
                </a:lnTo>
                <a:lnTo>
                  <a:pt x="0" y="6419849"/>
                </a:lnTo>
                <a:close/>
              </a:path>
            </a:pathLst>
          </a:custGeom>
        </p:spPr>
        <p:txBody>
          <a:bodyPr wrap="square" lIns="72000" tIns="2700000" rIns="72000" bIns="72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he icon to add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D115BF4-384F-4F6B-92AD-7BF5C93D3F9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622A9BDE-75A0-497E-9600-0D8A351BD45F}" type="datetime1">
              <a:rPr lang="en-GB" smtClean="0"/>
              <a:t>26/08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E124C8-B25A-4F96-9112-A199E2F6882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7A8717-9F13-4746-B30E-AA717E7D47C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2AF452F-2A67-4F48-8A5E-79A24677956C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56F3CC48-2972-4020-A9F2-AB0E409ACEB7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2503ABB-A51F-45AB-8C5E-A64C540EA48E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0C6BFC8-7434-4D48-8669-1C60EC120E2C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1300E48-F141-47D7-956A-D80CF609EDB8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D00EB28E-6564-4F1F-A863-E4E1EBDFED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49EF571-5094-4E7A-A7B9-57CA39F34FEE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901720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_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D59B0F-0EAD-449B-A851-823C2FDBD24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3" y="1636752"/>
            <a:ext cx="3480726" cy="44259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EFE8EA0-150E-440B-9384-5DDDD7EF4EE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 bwMode="gray">
          <a:xfrm>
            <a:off x="4355638" y="1636752"/>
            <a:ext cx="3480726" cy="44259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2605F5-BFBB-4119-B1FA-BD46F8FF4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38163"/>
            <a:ext cx="7394575" cy="7755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4D977660-D04C-4195-B16E-A1F02FEF2E1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268363" y="219074"/>
            <a:ext cx="3704562" cy="6419849"/>
          </a:xfrm>
          <a:custGeom>
            <a:avLst/>
            <a:gdLst>
              <a:gd name="connsiteX0" fmla="*/ 0 w 3704562"/>
              <a:gd name="connsiteY0" fmla="*/ 0 h 6419849"/>
              <a:gd name="connsiteX1" fmla="*/ 3704562 w 3704562"/>
              <a:gd name="connsiteY1" fmla="*/ 0 h 6419849"/>
              <a:gd name="connsiteX2" fmla="*/ 3704562 w 3704562"/>
              <a:gd name="connsiteY2" fmla="*/ 5960271 h 6419849"/>
              <a:gd name="connsiteX3" fmla="*/ 2971058 w 3704562"/>
              <a:gd name="connsiteY3" fmla="*/ 5960271 h 6419849"/>
              <a:gd name="connsiteX4" fmla="*/ 2698869 w 3704562"/>
              <a:gd name="connsiteY4" fmla="*/ 6417471 h 6419849"/>
              <a:gd name="connsiteX5" fmla="*/ 2700285 w 3704562"/>
              <a:gd name="connsiteY5" fmla="*/ 6419849 h 6419849"/>
              <a:gd name="connsiteX6" fmla="*/ 0 w 3704562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4562" h="6419849">
                <a:moveTo>
                  <a:pt x="0" y="0"/>
                </a:moveTo>
                <a:lnTo>
                  <a:pt x="3704562" y="0"/>
                </a:lnTo>
                <a:lnTo>
                  <a:pt x="3704562" y="5960271"/>
                </a:lnTo>
                <a:lnTo>
                  <a:pt x="2971058" y="5960271"/>
                </a:lnTo>
                <a:lnTo>
                  <a:pt x="2698869" y="6417471"/>
                </a:lnTo>
                <a:lnTo>
                  <a:pt x="2700285" y="6419849"/>
                </a:lnTo>
                <a:lnTo>
                  <a:pt x="0" y="6419849"/>
                </a:lnTo>
                <a:close/>
              </a:path>
            </a:pathLst>
          </a:custGeom>
        </p:spPr>
        <p:txBody>
          <a:bodyPr wrap="square" lIns="72000" tIns="2700000" rIns="72000" bIns="72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he icon to add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316277-09AA-4110-874C-CF6B5C36B40F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A3E1C55-7931-487C-93D2-D392DD0B4A38}" type="datetime1">
              <a:rPr lang="en-GB" smtClean="0"/>
              <a:t>26/08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C0BF5E-C3E4-4AB7-AB53-B026D74782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CE87D2-B8B4-40BC-ABB8-392CF2DA30B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0790957-19F9-484E-9683-95EED0C92EC4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96CA825F-D9E5-4D09-9302-79F9BDDCBD08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A1CC506-37BC-4AB2-9F43-CD40E19D287A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385883A-4AC0-4BE9-8CEA-A4BF751E5792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6F80678-71CC-4B1B-957E-C0F9BB60E314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2370FAE5-48F6-49AA-A95A-4B71C4D4E7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2EFCFD8-1AE7-4EA1-A869-34ED9F101C29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95991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3" pos="2472">
          <p15:clr>
            <a:srgbClr val="FBAE40"/>
          </p15:clr>
        </p15:guide>
        <p15:guide id="4" pos="2744">
          <p15:clr>
            <a:srgbClr val="FBAE40"/>
          </p15:clr>
        </p15:guide>
        <p15:guide id="5" pos="4937">
          <p15:clr>
            <a:srgbClr val="FBAE40"/>
          </p15:clr>
        </p15:guide>
        <p15:guide id="6" pos="520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86ABAC-8AF5-4319-8165-37C84CC3885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42913" y="1628775"/>
            <a:ext cx="11306175" cy="443198"/>
          </a:xfrm>
        </p:spPr>
        <p:txBody>
          <a:bodyPr anchor="b">
            <a:no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DFDS Bold" panose="02000000000000000000" pitchFamily="50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4C929AC6-6136-4451-A2D7-4D8003A1342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3" y="2241550"/>
            <a:ext cx="11306175" cy="382111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600"/>
            </a:lvl1pPr>
            <a:lvl2pPr>
              <a:spcBef>
                <a:spcPts val="300"/>
              </a:spcBef>
              <a:spcAft>
                <a:spcPts val="300"/>
              </a:spcAft>
              <a:defRPr sz="1600"/>
            </a:lvl2pPr>
            <a:lvl3pPr>
              <a:spcBef>
                <a:spcPts val="300"/>
              </a:spcBef>
              <a:spcAft>
                <a:spcPts val="300"/>
              </a:spcAft>
              <a:defRPr sz="1600"/>
            </a:lvl3pPr>
            <a:lvl4pPr>
              <a:spcBef>
                <a:spcPts val="300"/>
              </a:spcBef>
              <a:spcAft>
                <a:spcPts val="300"/>
              </a:spcAft>
              <a:defRPr/>
            </a:lvl4pPr>
            <a:lvl5pPr>
              <a:spcBef>
                <a:spcPts val="30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1CBEDD8-5A51-4BD8-9BD3-2C17D598C7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538163"/>
            <a:ext cx="11306175" cy="77559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 – max 2 line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A600417-D8FF-4B75-9AFD-B427C5F434B7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25AED72-EB8C-4A24-850C-EBD2DDD3E624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42A8BDF-9C0A-4794-A84B-162A665DB73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ADEE073-C160-4823-AEC6-16DF0BC2AB1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643DF46-435F-4961-A5D6-F7E64B8A6E80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C5A5BE60-35FE-4B1A-87B9-C6D4661FB3D3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BFE9257-CCA5-4F58-81FE-BF9B32E04770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E0BA8EA-A0AF-4ECA-88EA-2607B0A3A44F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5CA9EAE-19B3-41F8-AA0F-180E8092BEA4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299B941-818F-488B-AFD1-1E36CDEAF357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79D84571-9FEE-4E7F-A190-5769DCAEC2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sp>
        <p:nvSpPr>
          <p:cNvPr id="33" name="Date Placeholder 32">
            <a:extLst>
              <a:ext uri="{FF2B5EF4-FFF2-40B4-BE49-F238E27FC236}">
                <a16:creationId xmlns:a16="http://schemas.microsoft.com/office/drawing/2014/main" id="{2B8A9C3C-6617-445F-8AFA-DBB1AF5955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0EEB2C-5D9C-4F49-9EA7-425C63B693D3}" type="datetime1">
              <a:rPr lang="en-GB" smtClean="0"/>
              <a:t>26/08/2021</a:t>
            </a:fld>
            <a:endParaRPr lang="en-GB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F58AB79F-44C2-4CC7-BEC6-3629A2DB8C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Slide Number Placeholder 34">
            <a:extLst>
              <a:ext uri="{FF2B5EF4-FFF2-40B4-BE49-F238E27FC236}">
                <a16:creationId xmlns:a16="http://schemas.microsoft.com/office/drawing/2014/main" id="{5DF3F405-3B27-4B36-AA5F-15D7E6B351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87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orient="horz" pos="1307">
          <p15:clr>
            <a:srgbClr val="FBAE40"/>
          </p15:clr>
        </p15:guide>
        <p15:guide id="2" orient="horz" pos="141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_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342D381B-10AF-462D-BCBB-A2BFBDBF86C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2" y="1636753"/>
            <a:ext cx="2502544" cy="44259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0057A9E-EE30-460E-B2AE-49A9B4CE609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 bwMode="gray">
          <a:xfrm>
            <a:off x="3377457" y="1636753"/>
            <a:ext cx="2502544" cy="44259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4BDD99D2-5B85-4F34-BF56-C78F359A719A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001" y="1636753"/>
            <a:ext cx="2502544" cy="44259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7C293B-5F41-41CF-B047-CD717C323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38163"/>
            <a:ext cx="8372475" cy="7755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A2EE0DF5-F196-4DAE-94CB-51B584B9D1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46545" y="219074"/>
            <a:ext cx="2726380" cy="6419849"/>
          </a:xfrm>
          <a:custGeom>
            <a:avLst/>
            <a:gdLst>
              <a:gd name="connsiteX0" fmla="*/ 0 w 2726380"/>
              <a:gd name="connsiteY0" fmla="*/ 0 h 6419849"/>
              <a:gd name="connsiteX1" fmla="*/ 2726380 w 2726380"/>
              <a:gd name="connsiteY1" fmla="*/ 0 h 6419849"/>
              <a:gd name="connsiteX2" fmla="*/ 2726380 w 2726380"/>
              <a:gd name="connsiteY2" fmla="*/ 5960271 h 6419849"/>
              <a:gd name="connsiteX3" fmla="*/ 1992876 w 2726380"/>
              <a:gd name="connsiteY3" fmla="*/ 5960271 h 6419849"/>
              <a:gd name="connsiteX4" fmla="*/ 1720687 w 2726380"/>
              <a:gd name="connsiteY4" fmla="*/ 6417471 h 6419849"/>
              <a:gd name="connsiteX5" fmla="*/ 1722103 w 2726380"/>
              <a:gd name="connsiteY5" fmla="*/ 6419849 h 6419849"/>
              <a:gd name="connsiteX6" fmla="*/ 0 w 2726380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26380" h="6419849">
                <a:moveTo>
                  <a:pt x="0" y="0"/>
                </a:moveTo>
                <a:lnTo>
                  <a:pt x="2726380" y="0"/>
                </a:lnTo>
                <a:lnTo>
                  <a:pt x="2726380" y="5960271"/>
                </a:lnTo>
                <a:lnTo>
                  <a:pt x="1992876" y="5960271"/>
                </a:lnTo>
                <a:lnTo>
                  <a:pt x="1720687" y="6417471"/>
                </a:lnTo>
                <a:lnTo>
                  <a:pt x="1722103" y="6419849"/>
                </a:lnTo>
                <a:lnTo>
                  <a:pt x="0" y="6419849"/>
                </a:lnTo>
                <a:close/>
              </a:path>
            </a:pathLst>
          </a:custGeom>
        </p:spPr>
        <p:txBody>
          <a:bodyPr wrap="square" lIns="72000" tIns="2700000" rIns="72000" bIns="72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he icon to add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3D0E5A-0A6B-4E5B-AFFE-87B5157E6E9C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F0A13023-218C-4EE7-9395-BD2BB93D385A}" type="datetime1">
              <a:rPr lang="en-GB" smtClean="0"/>
              <a:t>26/08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995D35-5570-47C1-B64A-913D555C7FB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FCB086-078B-4B1D-8BBA-9D5E5A4A120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6393FC8-84B8-4023-B481-B680B424ADB1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2F73D4DE-B5C5-462A-8192-0C0F2184CB77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C925B75-A614-430B-868C-769B626ADE48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E5534AC-2732-45E3-A673-BC4BA6E33476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D5B0D2D-8BA5-42E8-A4E2-7936E9976920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1D0F9099-503F-43A5-B075-67BCD7A7BC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09B84D5-7560-4ED5-AC7D-EC8ECEE54E0F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97474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3" pos="1856">
          <p15:clr>
            <a:srgbClr val="FBAE40"/>
          </p15:clr>
        </p15:guide>
        <p15:guide id="4" pos="2129">
          <p15:clr>
            <a:srgbClr val="FBAE40"/>
          </p15:clr>
        </p15:guide>
        <p15:guide id="5" pos="5553">
          <p15:clr>
            <a:srgbClr val="FBAE40"/>
          </p15:clr>
        </p15:guide>
        <p15:guide id="6" pos="5825">
          <p15:clr>
            <a:srgbClr val="FBAE40"/>
          </p15:clr>
        </p15:guide>
        <p15:guide id="7" pos="3705">
          <p15:clr>
            <a:srgbClr val="FBAE40"/>
          </p15:clr>
        </p15:guide>
        <p15:guide id="8" pos="397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653ACB4-0EAF-4189-BFF5-304317E35F0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18282" y="219076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960269 h 6419849"/>
              <a:gd name="connsiteX3" fmla="*/ 11021140 w 11755436"/>
              <a:gd name="connsiteY3" fmla="*/ 5960269 h 6419849"/>
              <a:gd name="connsiteX4" fmla="*/ 10748951 w 11755436"/>
              <a:gd name="connsiteY4" fmla="*/ 6417469 h 6419849"/>
              <a:gd name="connsiteX5" fmla="*/ 10750368 w 11755436"/>
              <a:gd name="connsiteY5" fmla="*/ 6419849 h 6419849"/>
              <a:gd name="connsiteX6" fmla="*/ 0 w 11755436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960269"/>
                </a:lnTo>
                <a:lnTo>
                  <a:pt x="11021140" y="5960269"/>
                </a:lnTo>
                <a:lnTo>
                  <a:pt x="10748951" y="6417469"/>
                </a:lnTo>
                <a:lnTo>
                  <a:pt x="10750368" y="6419849"/>
                </a:lnTo>
                <a:lnTo>
                  <a:pt x="0" y="641984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5688000" tIns="2664000" rIns="72000" bIns="72000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itle 12">
            <a:extLst>
              <a:ext uri="{FF2B5EF4-FFF2-40B4-BE49-F238E27FC236}">
                <a16:creationId xmlns:a16="http://schemas.microsoft.com/office/drawing/2014/main" id="{5F492F91-D7DA-4F13-9A3E-2A9AF0AC1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2588478"/>
            <a:ext cx="4375974" cy="1661993"/>
          </a:xfrm>
        </p:spPr>
        <p:txBody>
          <a:bodyPr anchor="ctr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F121C43-6191-4BE0-A2DA-56B95B759AE7}"/>
              </a:ext>
            </a:extLst>
          </p:cNvPr>
          <p:cNvGrpSpPr/>
          <p:nvPr/>
        </p:nvGrpSpPr>
        <p:grpSpPr bwMode="gray">
          <a:xfrm>
            <a:off x="-3439886" y="68474"/>
            <a:ext cx="3312886" cy="1667083"/>
            <a:chOff x="-3451566" y="560902"/>
            <a:chExt cx="3146766" cy="1667083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5A0C073-4946-4A9B-BB3F-9207E975F400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14003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icon to add a picture or use the dark blue background as-is (the grey prompt text will not be visible in Slide Show/print)</a:t>
              </a:r>
            </a:p>
            <a:p>
              <a:pPr marL="180975" marR="0" lvl="0" indent="-180975" algn="l" defTabSz="914400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On a blue background: feel free to change the width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of the text box but do not change its horizontal and vertical position </a:t>
              </a:r>
            </a:p>
            <a:p>
              <a:pPr marL="180975" marR="0" lvl="0" indent="-180975" algn="l" defTabSz="914400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On a picture background or a blue background with illustrations: feel free to change the font size an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placement of the text box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FA9AB20-B55E-4F8E-833D-30048ACFFE07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use the Big Statement layout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51" name="Date Placeholder 50">
            <a:extLst>
              <a:ext uri="{FF2B5EF4-FFF2-40B4-BE49-F238E27FC236}">
                <a16:creationId xmlns:a16="http://schemas.microsoft.com/office/drawing/2014/main" id="{0AD7441C-F496-4E50-8157-EE02A4902183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3594EDBC-1309-4138-A718-FDA87E51A288}" type="datetime1">
              <a:rPr lang="en-GB" smtClean="0"/>
              <a:t>26/08/2021</a:t>
            </a:fld>
            <a:endParaRPr lang="en-GB"/>
          </a:p>
        </p:txBody>
      </p:sp>
      <p:sp>
        <p:nvSpPr>
          <p:cNvPr id="52" name="Footer Placeholder 51">
            <a:extLst>
              <a:ext uri="{FF2B5EF4-FFF2-40B4-BE49-F238E27FC236}">
                <a16:creationId xmlns:a16="http://schemas.microsoft.com/office/drawing/2014/main" id="{19F09E39-F5EA-4BB3-B53A-148816D2D4E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3" name="Slide Number Placeholder 52">
            <a:extLst>
              <a:ext uri="{FF2B5EF4-FFF2-40B4-BE49-F238E27FC236}">
                <a16:creationId xmlns:a16="http://schemas.microsoft.com/office/drawing/2014/main" id="{B9DEE127-34EB-4384-B7F0-E798D20DB4F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83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lide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5A13DCB-2E6D-4228-8F5F-A0C9611A33B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19075" y="219074"/>
            <a:ext cx="11753850" cy="6419849"/>
          </a:xfrm>
          <a:custGeom>
            <a:avLst/>
            <a:gdLst>
              <a:gd name="connsiteX0" fmla="*/ 0 w 11753850"/>
              <a:gd name="connsiteY0" fmla="*/ 0 h 6419849"/>
              <a:gd name="connsiteX1" fmla="*/ 11753850 w 11753850"/>
              <a:gd name="connsiteY1" fmla="*/ 0 h 6419849"/>
              <a:gd name="connsiteX2" fmla="*/ 11753850 w 11753850"/>
              <a:gd name="connsiteY2" fmla="*/ 5960271 h 6419849"/>
              <a:gd name="connsiteX3" fmla="*/ 11020346 w 11753850"/>
              <a:gd name="connsiteY3" fmla="*/ 5960271 h 6419849"/>
              <a:gd name="connsiteX4" fmla="*/ 10748157 w 11753850"/>
              <a:gd name="connsiteY4" fmla="*/ 6417471 h 6419849"/>
              <a:gd name="connsiteX5" fmla="*/ 10749573 w 11753850"/>
              <a:gd name="connsiteY5" fmla="*/ 6419849 h 6419849"/>
              <a:gd name="connsiteX6" fmla="*/ 0 w 11753850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53850" h="6419849">
                <a:moveTo>
                  <a:pt x="0" y="0"/>
                </a:moveTo>
                <a:lnTo>
                  <a:pt x="11753850" y="0"/>
                </a:lnTo>
                <a:lnTo>
                  <a:pt x="11753850" y="5960271"/>
                </a:lnTo>
                <a:lnTo>
                  <a:pt x="11020346" y="5960271"/>
                </a:lnTo>
                <a:lnTo>
                  <a:pt x="10748157" y="6417471"/>
                </a:lnTo>
                <a:lnTo>
                  <a:pt x="10749573" y="6419849"/>
                </a:lnTo>
                <a:lnTo>
                  <a:pt x="0" y="6419849"/>
                </a:lnTo>
                <a:close/>
              </a:path>
            </a:pathLst>
          </a:custGeom>
        </p:spPr>
        <p:txBody>
          <a:bodyPr wrap="square" lIns="72000" tIns="2700000" rIns="72000" bIns="72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he icon to add a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6CA8B5-C001-416F-858C-86538746C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24F7F74-0948-4C61-A681-4758C549F27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D28A449F-5400-40E7-A3A3-A917134D6A02}" type="datetime1">
              <a:rPr lang="en-GB" smtClean="0"/>
              <a:t>26/08/2021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3B28F5-42B0-4D93-92CD-7EB470BA90F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C7704EF-F3B6-4524-BF41-2B829C603CE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05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7D46D654-947A-4AAD-B417-999E8DAE121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19075" y="219074"/>
            <a:ext cx="11753850" cy="6419849"/>
          </a:xfrm>
          <a:prstGeom prst="rect">
            <a:avLst/>
          </a:prstGeom>
        </p:spPr>
        <p:txBody>
          <a:bodyPr wrap="square" lIns="72000" tIns="2700000" rIns="72000" bIns="72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he icon to add a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534009-B84D-4A77-8201-C7A8E5685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C1A26AA-77B5-444E-8CC8-3E17C5ECE09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16B2D4B-223A-40ED-ABB4-206724A189E9}" type="datetime1">
              <a:rPr lang="en-GB" smtClean="0"/>
              <a:t>26/08/2021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15873F-02AF-4087-B7C1-5554D781652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4E84388-35B2-4537-A6AC-36939A4DFE8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971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B472671F-4F8E-444C-9C45-A19FA7DC915C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72000" tIns="2880000" rIns="72000" bIns="72000"/>
          <a:lstStyle>
            <a:lvl1pPr marL="0" indent="0" algn="ctr">
              <a:buNone/>
              <a:defRPr/>
            </a:lvl1pPr>
          </a:lstStyle>
          <a:p>
            <a:r>
              <a:rPr lang="en-GB"/>
              <a:t>Click the icon to add a vide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CE8315A-94A7-4354-BF4D-217F585B07DC}"/>
              </a:ext>
            </a:extLst>
          </p:cNvPr>
          <p:cNvGrpSpPr/>
          <p:nvPr/>
        </p:nvGrpSpPr>
        <p:grpSpPr bwMode="gray">
          <a:xfrm>
            <a:off x="-3273766" y="68474"/>
            <a:ext cx="3146766" cy="897642"/>
            <a:chOff x="-3451566" y="560902"/>
            <a:chExt cx="3146766" cy="89764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33B8C0B-BE55-41CD-BBCC-E41D341E591A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630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media icon in the video placeholder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nd select the video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on the inserted video to get access to the Video Format and the Playback menus in the Ribbon.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F13B599-8736-41B2-943A-BFBF52DBA8E4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Insert a video from fil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164F700-DD95-4988-AE8A-B8FF88CD0314}"/>
              </a:ext>
            </a:extLst>
          </p:cNvPr>
          <p:cNvGrpSpPr/>
          <p:nvPr/>
        </p:nvGrpSpPr>
        <p:grpSpPr bwMode="gray">
          <a:xfrm>
            <a:off x="-3273766" y="1197372"/>
            <a:ext cx="3146766" cy="1605528"/>
            <a:chOff x="-3451566" y="738702"/>
            <a:chExt cx="3146766" cy="1605528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2E7CD4F-E5F1-4A31-9165-913E627AD877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1005402"/>
              <a:ext cx="3146766" cy="13388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Go to the Insert tab in the Ribbon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In the Media section, click the drop-down menu Video and select Online Video. Paste the URL or embed code from the video into the dialog box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video will be placed in the video placeholder and will play in full scre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on the inserted video to get access to the Video Format and the Playback menus in the Ribbon.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CD3248F-6024-4713-B29A-7AF964A42B14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7387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Insert an online video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49633E-2E6A-42E7-A21C-821A83A0C9BC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8EE8714-9E3F-433A-AB4E-17839B9E8D31}" type="datetime1">
              <a:rPr lang="en-GB" smtClean="0"/>
              <a:t>26/08/2021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4981DFE-27F1-4822-BCDB-9CE8995D15D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8DDAF74-C57B-4CBE-8449-E9F8EB3671A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322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ACF5F8-30A4-4B81-A773-65B020C8D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282F2-7EB6-4E71-9C13-1196CA7B4400}" type="datetime1">
              <a:rPr lang="en-GB" smtClean="0"/>
              <a:t>26/08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4DC085-6077-4919-9447-2821FAC3AE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9B0611-5A9A-4BE9-9E74-D013DC08B5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308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0230880-C180-41C9-97C1-49B5C6EDF9E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19075" y="219074"/>
            <a:ext cx="11753850" cy="6419849"/>
          </a:xfrm>
          <a:custGeom>
            <a:avLst/>
            <a:gdLst>
              <a:gd name="connsiteX0" fmla="*/ 0 w 11753850"/>
              <a:gd name="connsiteY0" fmla="*/ 0 h 6419849"/>
              <a:gd name="connsiteX1" fmla="*/ 11753850 w 11753850"/>
              <a:gd name="connsiteY1" fmla="*/ 0 h 6419849"/>
              <a:gd name="connsiteX2" fmla="*/ 11753850 w 11753850"/>
              <a:gd name="connsiteY2" fmla="*/ 5969795 h 6419849"/>
              <a:gd name="connsiteX3" fmla="*/ 11020346 w 11753850"/>
              <a:gd name="connsiteY3" fmla="*/ 5969795 h 6419849"/>
              <a:gd name="connsiteX4" fmla="*/ 10752411 w 11753850"/>
              <a:gd name="connsiteY4" fmla="*/ 6419849 h 6419849"/>
              <a:gd name="connsiteX5" fmla="*/ 0 w 11753850"/>
              <a:gd name="connsiteY5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53850" h="6419849">
                <a:moveTo>
                  <a:pt x="0" y="0"/>
                </a:moveTo>
                <a:lnTo>
                  <a:pt x="11753850" y="0"/>
                </a:lnTo>
                <a:lnTo>
                  <a:pt x="11753850" y="5969795"/>
                </a:lnTo>
                <a:lnTo>
                  <a:pt x="11020346" y="5969795"/>
                </a:lnTo>
                <a:lnTo>
                  <a:pt x="10752411" y="6419849"/>
                </a:lnTo>
                <a:lnTo>
                  <a:pt x="0" y="6419849"/>
                </a:lnTo>
                <a:close/>
              </a:path>
            </a:pathLst>
          </a:custGeom>
        </p:spPr>
        <p:txBody>
          <a:bodyPr wrap="square" lIns="72000" tIns="2700000" rIns="72000" bIns="72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he icon to add a picture</a:t>
            </a:r>
          </a:p>
        </p:txBody>
      </p:sp>
      <p:sp>
        <p:nvSpPr>
          <p:cNvPr id="21" name="Title 12">
            <a:extLst>
              <a:ext uri="{FF2B5EF4-FFF2-40B4-BE49-F238E27FC236}">
                <a16:creationId xmlns:a16="http://schemas.microsoft.com/office/drawing/2014/main" id="{5F492F91-D7DA-4F13-9A3E-2A9AF0AC1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544513"/>
            <a:ext cx="11306175" cy="830997"/>
          </a:xfrm>
        </p:spPr>
        <p:txBody>
          <a:bodyPr anchor="t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DD2E16D-E9C0-4EC3-910A-5C2FB5EEEDEF}"/>
              </a:ext>
            </a:extLst>
          </p:cNvPr>
          <p:cNvGrpSpPr/>
          <p:nvPr/>
        </p:nvGrpSpPr>
        <p:grpSpPr bwMode="gray">
          <a:xfrm>
            <a:off x="-3439886" y="68474"/>
            <a:ext cx="3312886" cy="543699"/>
            <a:chOff x="-3451566" y="560902"/>
            <a:chExt cx="3146766" cy="543699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DC51C4E-6C90-4693-8092-8836A203B273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Feel free to change the font colour to Group Blue (the dark blue colour </a:t>
              </a:r>
              <a:r>
                <a:rPr lang="en-GB" sz="1000">
                  <a:solidFill>
                    <a:schemeClr val="tx2"/>
                  </a:solidFill>
                  <a:latin typeface="DFDS Light" panose="02000000000000000000" pitchFamily="50" charset="0"/>
                </a:rPr>
                <a:t>used for headings and sub-headings</a:t>
              </a: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)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1DE1172-2BBE-4230-A4DE-73159326DEB0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use the End Slide layout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A5041E-B3DD-478B-8597-19BA959A4DB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3F1DF9B-6ED5-4190-B540-7CDA6C579D32}" type="datetime1">
              <a:rPr lang="en-GB" smtClean="0"/>
              <a:t>26/08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56DC7B-F182-4D70-BE52-CBBBC4805EE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C9D260-AAE9-436A-80BF-B1D349688FB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254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542" b="1" i="0">
                <a:solidFill>
                  <a:schemeClr val="tx1"/>
                </a:solidFill>
                <a:latin typeface="DFDS Light" panose="02000000000000000000" pitchFamily="50" charset="0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6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033091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</p:spTree>
    <p:extLst>
      <p:ext uri="{BB962C8B-B14F-4D97-AF65-F5344CB8AC3E}">
        <p14:creationId xmlns:p14="http://schemas.microsoft.com/office/powerpoint/2010/main" val="38484162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de Ra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CCEE5531-C59B-4498-8D1D-15C1A4C396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F5991D1D-C88A-4122-A0BA-B5F8AEAAD7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8539" y="5957887"/>
            <a:ext cx="1357889" cy="469107"/>
          </a:xfrm>
          <a:prstGeom prst="rect">
            <a:avLst/>
          </a:prstGeom>
        </p:spPr>
      </p:pic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605AB99C-CBB9-4429-B06B-09C293E43B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222251" y="209550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529261 h 6419849"/>
              <a:gd name="connsiteX3" fmla="*/ 10334057 w 11755436"/>
              <a:gd name="connsiteY3" fmla="*/ 5529261 h 6419849"/>
              <a:gd name="connsiteX4" fmla="*/ 9807737 w 11755436"/>
              <a:gd name="connsiteY4" fmla="*/ 6419849 h 6419849"/>
              <a:gd name="connsiteX5" fmla="*/ 0 w 11755436"/>
              <a:gd name="connsiteY5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529261"/>
                </a:lnTo>
                <a:lnTo>
                  <a:pt x="10334057" y="5529261"/>
                </a:lnTo>
                <a:lnTo>
                  <a:pt x="9807737" y="6419849"/>
                </a:lnTo>
                <a:lnTo>
                  <a:pt x="0" y="6419849"/>
                </a:lnTo>
                <a:close/>
              </a:path>
            </a:pathLst>
          </a:cu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2808000" anchor="b">
            <a:noAutofit/>
          </a:bodyPr>
          <a:lstStyle>
            <a:lvl1pPr marL="0" indent="0" algn="ctr">
              <a:buNone/>
              <a:defRPr sz="1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49">
            <a:extLst>
              <a:ext uri="{FF2B5EF4-FFF2-40B4-BE49-F238E27FC236}">
                <a16:creationId xmlns:a16="http://schemas.microsoft.com/office/drawing/2014/main" id="{568B4A00-CFC1-4987-A659-1CBC9E43B1B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222251" y="209550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529261 h 6419849"/>
              <a:gd name="connsiteX3" fmla="*/ 10334057 w 11755436"/>
              <a:gd name="connsiteY3" fmla="*/ 5529261 h 6419849"/>
              <a:gd name="connsiteX4" fmla="*/ 9807737 w 11755436"/>
              <a:gd name="connsiteY4" fmla="*/ 6419849 h 6419849"/>
              <a:gd name="connsiteX5" fmla="*/ 0 w 11755436"/>
              <a:gd name="connsiteY5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529261"/>
                </a:lnTo>
                <a:lnTo>
                  <a:pt x="10334057" y="5529261"/>
                </a:lnTo>
                <a:lnTo>
                  <a:pt x="9807737" y="6419849"/>
                </a:lnTo>
                <a:lnTo>
                  <a:pt x="0" y="6419849"/>
                </a:lnTo>
                <a:close/>
              </a:path>
            </a:pathLst>
          </a:custGeom>
          <a:noFill/>
        </p:spPr>
        <p:txBody>
          <a:bodyPr wrap="square" tIns="2808000" anchor="b">
            <a:noAutofit/>
          </a:bodyPr>
          <a:lstStyle>
            <a:lvl1pPr marL="0" indent="0" algn="ctr">
              <a:buNone/>
              <a:defRPr sz="1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3E53E-15BB-410F-84DC-A4E767EAC5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42913" y="1116806"/>
            <a:ext cx="7248469" cy="1791494"/>
          </a:xfrm>
        </p:spPr>
        <p:txBody>
          <a:bodyPr anchor="t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</a:t>
            </a:r>
            <a:br>
              <a:rPr lang="en-GB"/>
            </a:br>
            <a:r>
              <a:rPr lang="en-GB"/>
              <a:t>- max 2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2922EC-38A5-403F-83E6-ABDC3CB844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42913" y="3209132"/>
            <a:ext cx="4970335" cy="2492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DFDS Bold" panose="020000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F0C848-94FD-442C-838B-C222A10824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2914" y="538163"/>
            <a:ext cx="7248469" cy="2778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DFDS" panose="00000500000000000000" pitchFamily="2" charset="0"/>
              <a:buNone/>
              <a:tabLst/>
              <a:defRPr sz="1800" b="1">
                <a:solidFill>
                  <a:schemeClr val="accent3"/>
                </a:solidFill>
              </a:defRPr>
            </a:lvl1pPr>
            <a:lvl2pPr marL="0" indent="0">
              <a:buNone/>
              <a:defRPr sz="1800" b="1">
                <a:solidFill>
                  <a:schemeClr val="accent3"/>
                </a:solidFill>
              </a:defRPr>
            </a:lvl2pPr>
            <a:lvl3pPr marL="0" indent="0">
              <a:buNone/>
              <a:defRPr sz="1800" b="1">
                <a:solidFill>
                  <a:schemeClr val="accent3"/>
                </a:solidFill>
              </a:defRPr>
            </a:lvl3pPr>
            <a:lvl4pPr marL="0" indent="0">
              <a:buNone/>
              <a:defRPr sz="1800" b="1">
                <a:solidFill>
                  <a:schemeClr val="accent3"/>
                </a:solidFill>
              </a:defRPr>
            </a:lvl4pPr>
            <a:lvl5pPr marL="0" indent="0">
              <a:buNone/>
              <a:defRPr sz="1800" b="1">
                <a:solidFill>
                  <a:schemeClr val="accent3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DFDS" panose="00000500000000000000" pitchFamily="2" charset="0"/>
              <a:buNone/>
              <a:tabLst/>
              <a:defRPr/>
            </a:pPr>
            <a:r>
              <a:rPr lang="en-GB"/>
              <a:t>Click to add dat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B88002-7B9E-435B-8F5F-89ED768DAE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05006" y="1272306"/>
            <a:ext cx="1480494" cy="1480494"/>
          </a:xfrm>
          <a:prstGeom prst="ellipse">
            <a:avLst/>
          </a:prstGeom>
          <a:solidFill>
            <a:srgbClr val="FF0000"/>
          </a:solidFill>
        </p:spPr>
        <p:txBody>
          <a:bodyPr lIns="0" tIns="0" rIns="0" bIns="0"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  <a:lvl2pPr marL="180975" indent="0" algn="ctr">
              <a:buNone/>
              <a:defRPr>
                <a:solidFill>
                  <a:schemeClr val="bg1"/>
                </a:solidFill>
              </a:defRPr>
            </a:lvl2pPr>
            <a:lvl3pPr marL="361950" indent="0" algn="ctr">
              <a:buNone/>
              <a:defRPr>
                <a:solidFill>
                  <a:schemeClr val="bg1"/>
                </a:solidFill>
              </a:defRPr>
            </a:lvl3pPr>
            <a:lvl4pPr marL="361950" indent="0" algn="ctr">
              <a:buNone/>
              <a:defRPr>
                <a:solidFill>
                  <a:schemeClr val="bg1"/>
                </a:solidFill>
              </a:defRPr>
            </a:lvl4pPr>
            <a:lvl5pPr marL="36195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Read and delete: This layout is only to be used for title slid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46B7A9E-3B78-4D77-B538-BD002C3E659F}"/>
              </a:ext>
            </a:extLst>
          </p:cNvPr>
          <p:cNvGrpSpPr/>
          <p:nvPr/>
        </p:nvGrpSpPr>
        <p:grpSpPr bwMode="gray">
          <a:xfrm>
            <a:off x="-3439886" y="68474"/>
            <a:ext cx="3312886" cy="1759416"/>
            <a:chOff x="-3451566" y="560902"/>
            <a:chExt cx="3146766" cy="175941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5281209-2458-4FC6-96D2-AD7A1FDDAF3C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14927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lect the overlay (the ray and the echo) by clicking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on the blue part in the bottom-left corner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overlay and select Send to Back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outside the slide to de-select the overlay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w select the picture and delete it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picture icon and insert another picture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inserted picture and choose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nd to Back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F3F86D1-DF66-4766-9247-2880F137CDC0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change the existing pictur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6255FA02-5C20-4BBA-B841-05E143DB3665}"/>
              </a:ext>
            </a:extLst>
          </p:cNvPr>
          <p:cNvSpPr txBox="1">
            <a:spLocks/>
          </p:cNvSpPr>
          <p:nvPr/>
        </p:nvSpPr>
        <p:spPr bwMode="gray">
          <a:xfrm>
            <a:off x="-3433507" y="3292231"/>
            <a:ext cx="3185671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Refer to the guidelines in this template </a:t>
            </a:r>
            <a:b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</a:b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in order to </a:t>
            </a:r>
            <a:r>
              <a:rPr lang="en-GB" sz="1200" b="1">
                <a:solidFill>
                  <a:schemeClr val="accent1"/>
                </a:solidFill>
                <a:latin typeface="DFDS Light" panose="02000000000000000000" pitchFamily="50" charset="0"/>
              </a:rPr>
              <a:t>crop, scale and resize pictures</a:t>
            </a: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.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B4ED152-C3D4-4CD6-821C-A1E1D5FE6E87}"/>
              </a:ext>
            </a:extLst>
          </p:cNvPr>
          <p:cNvGrpSpPr/>
          <p:nvPr/>
        </p:nvGrpSpPr>
        <p:grpSpPr bwMode="gray">
          <a:xfrm>
            <a:off x="-3439886" y="2191304"/>
            <a:ext cx="3312886" cy="759143"/>
            <a:chOff x="-3451566" y="560902"/>
            <a:chExt cx="3146766" cy="759143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05A6480-64D4-4A4C-86AB-67F2F7FAAB0D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picture icon and insert a picture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inserted picture and choose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nd to Back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FD1A653-A10E-404A-849A-E6B6D8134AF4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insert a picture on a new title slid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0638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Wide 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D804DD5-788A-4E8E-9DB0-F827D5BD5B0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18282" y="219076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960269 h 6419849"/>
              <a:gd name="connsiteX3" fmla="*/ 11021140 w 11755436"/>
              <a:gd name="connsiteY3" fmla="*/ 5960269 h 6419849"/>
              <a:gd name="connsiteX4" fmla="*/ 10748951 w 11755436"/>
              <a:gd name="connsiteY4" fmla="*/ 6417469 h 6419849"/>
              <a:gd name="connsiteX5" fmla="*/ 10750368 w 11755436"/>
              <a:gd name="connsiteY5" fmla="*/ 6419849 h 6419849"/>
              <a:gd name="connsiteX6" fmla="*/ 0 w 11755436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960269"/>
                </a:lnTo>
                <a:lnTo>
                  <a:pt x="11021140" y="5960269"/>
                </a:lnTo>
                <a:lnTo>
                  <a:pt x="10748951" y="6417469"/>
                </a:lnTo>
                <a:lnTo>
                  <a:pt x="10750368" y="6419849"/>
                </a:lnTo>
                <a:lnTo>
                  <a:pt x="0" y="641984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D29EA83-64CC-4C4B-BD8E-1943B00C2DDA}"/>
              </a:ext>
            </a:extLst>
          </p:cNvPr>
          <p:cNvGrpSpPr/>
          <p:nvPr/>
        </p:nvGrpSpPr>
        <p:grpSpPr bwMode="gray">
          <a:xfrm>
            <a:off x="-3439886" y="68474"/>
            <a:ext cx="3312886" cy="1759416"/>
            <a:chOff x="-3451566" y="560902"/>
            <a:chExt cx="3146766" cy="1759416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5E6B893-7B74-481F-A2A2-04ADB6DCFD03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14927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lect the overlay (the ray and the echo) by clicking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on the blue part in the bottom-left corner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overlay and select Send to Back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outside the slide to de-select the overlay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w select the picture and delete it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picture icon and insert another picture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inserted picture and choose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nd to Back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9247A8A-4502-4615-8FA3-31F96EDF6D61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change the existing pictur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A5CCB2B1-4881-45BA-A789-ECF3DB108444}"/>
              </a:ext>
            </a:extLst>
          </p:cNvPr>
          <p:cNvSpPr txBox="1">
            <a:spLocks/>
          </p:cNvSpPr>
          <p:nvPr/>
        </p:nvSpPr>
        <p:spPr bwMode="gray">
          <a:xfrm>
            <a:off x="-3433507" y="3292231"/>
            <a:ext cx="3185671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Refer to the guidelines in this template </a:t>
            </a:r>
            <a:b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</a:b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in order to </a:t>
            </a:r>
            <a:r>
              <a:rPr lang="en-GB" sz="1200" b="1">
                <a:solidFill>
                  <a:schemeClr val="accent1"/>
                </a:solidFill>
                <a:latin typeface="DFDS Light" panose="02000000000000000000" pitchFamily="50" charset="0"/>
              </a:rPr>
              <a:t>crop, scale and resize pictures</a:t>
            </a: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07770AB-6141-41A6-A24F-61EDBCAD5B55}"/>
              </a:ext>
            </a:extLst>
          </p:cNvPr>
          <p:cNvGrpSpPr/>
          <p:nvPr/>
        </p:nvGrpSpPr>
        <p:grpSpPr bwMode="gray">
          <a:xfrm>
            <a:off x="-3439886" y="2191304"/>
            <a:ext cx="3312886" cy="759143"/>
            <a:chOff x="-3451566" y="560902"/>
            <a:chExt cx="3146766" cy="759143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F183297-56D2-4E60-9907-14BABE819BEE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picture icon and insert a picture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inserted picture and choose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nd to Back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7F7CB24-6951-4C24-B107-B61E1880E49C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insert a picture on a new agenda slid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610EED75-ADC2-4CE4-AF0C-77CA56B7F0A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18282" y="219076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960269 h 6419849"/>
              <a:gd name="connsiteX3" fmla="*/ 11021140 w 11755436"/>
              <a:gd name="connsiteY3" fmla="*/ 5960269 h 6419849"/>
              <a:gd name="connsiteX4" fmla="*/ 10748951 w 11755436"/>
              <a:gd name="connsiteY4" fmla="*/ 6417469 h 6419849"/>
              <a:gd name="connsiteX5" fmla="*/ 10750368 w 11755436"/>
              <a:gd name="connsiteY5" fmla="*/ 6419849 h 6419849"/>
              <a:gd name="connsiteX6" fmla="*/ 0 w 11755436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960269"/>
                </a:lnTo>
                <a:lnTo>
                  <a:pt x="11021140" y="5960269"/>
                </a:lnTo>
                <a:lnTo>
                  <a:pt x="10748951" y="6417469"/>
                </a:lnTo>
                <a:lnTo>
                  <a:pt x="10750368" y="6419849"/>
                </a:lnTo>
                <a:lnTo>
                  <a:pt x="0" y="6419849"/>
                </a:lnTo>
                <a:close/>
              </a:path>
            </a:pathLst>
          </a:custGeom>
          <a:noFill/>
        </p:spPr>
        <p:txBody>
          <a:bodyPr wrap="square" lIns="0" tIns="0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861D1914-625A-4DFD-B07D-BEAC84EE5B93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B877777-4A1E-4097-9436-7E6F4D7A5165}" type="datetime1">
              <a:rPr lang="en-GB" smtClean="0"/>
              <a:t>26/08/2021</a:t>
            </a:fld>
            <a:endParaRPr lang="en-GB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E09AA819-FA01-4B74-8C86-BD502699052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E117AC85-CA85-4D4D-B44C-AE9C06CFBB1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3E53E-15BB-410F-84DC-A4E767EAC5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42913" y="538163"/>
            <a:ext cx="7251223" cy="946150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agenda heading - max 2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2922EC-38A5-403F-83E6-ABDC3CB844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42913" y="1836676"/>
            <a:ext cx="7251223" cy="2492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DFDS Bold" panose="020000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Insert time and subjec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498D43D-A39F-433D-A697-134684DBB1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05006" y="1272306"/>
            <a:ext cx="1480494" cy="1480494"/>
          </a:xfrm>
          <a:prstGeom prst="ellipse">
            <a:avLst/>
          </a:prstGeom>
          <a:solidFill>
            <a:srgbClr val="FF0000"/>
          </a:solidFill>
        </p:spPr>
        <p:txBody>
          <a:bodyPr lIns="0" tIns="0" rIns="0" bIns="0"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  <a:lvl2pPr marL="180975" indent="0" algn="ctr">
              <a:buNone/>
              <a:defRPr>
                <a:solidFill>
                  <a:schemeClr val="bg1"/>
                </a:solidFill>
              </a:defRPr>
            </a:lvl2pPr>
            <a:lvl3pPr marL="361950" indent="0" algn="ctr">
              <a:buNone/>
              <a:defRPr>
                <a:solidFill>
                  <a:schemeClr val="bg1"/>
                </a:solidFill>
              </a:defRPr>
            </a:lvl3pPr>
            <a:lvl4pPr marL="361950" indent="0" algn="ctr">
              <a:buNone/>
              <a:defRPr>
                <a:solidFill>
                  <a:schemeClr val="bg1"/>
                </a:solidFill>
              </a:defRPr>
            </a:lvl4pPr>
            <a:lvl5pPr marL="36195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Read and delete: This layout is only to be used for agenda slides</a:t>
            </a:r>
          </a:p>
        </p:txBody>
      </p:sp>
    </p:spTree>
    <p:extLst>
      <p:ext uri="{BB962C8B-B14F-4D97-AF65-F5344CB8AC3E}">
        <p14:creationId xmlns:p14="http://schemas.microsoft.com/office/powerpoint/2010/main" val="132037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Standard 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051963F-4BD0-4642-B08E-83690E41ED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18282" y="219076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960269 h 6419849"/>
              <a:gd name="connsiteX3" fmla="*/ 11021140 w 11755436"/>
              <a:gd name="connsiteY3" fmla="*/ 5960269 h 6419849"/>
              <a:gd name="connsiteX4" fmla="*/ 10748951 w 11755436"/>
              <a:gd name="connsiteY4" fmla="*/ 6417469 h 6419849"/>
              <a:gd name="connsiteX5" fmla="*/ 10750368 w 11755436"/>
              <a:gd name="connsiteY5" fmla="*/ 6419849 h 6419849"/>
              <a:gd name="connsiteX6" fmla="*/ 0 w 11755436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960269"/>
                </a:lnTo>
                <a:lnTo>
                  <a:pt x="11021140" y="5960269"/>
                </a:lnTo>
                <a:lnTo>
                  <a:pt x="10748951" y="6417469"/>
                </a:lnTo>
                <a:lnTo>
                  <a:pt x="10750368" y="6419849"/>
                </a:lnTo>
                <a:lnTo>
                  <a:pt x="0" y="641984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E6D0595-868E-4EBD-922F-7A139555E4E7}"/>
              </a:ext>
            </a:extLst>
          </p:cNvPr>
          <p:cNvGrpSpPr/>
          <p:nvPr/>
        </p:nvGrpSpPr>
        <p:grpSpPr bwMode="gray">
          <a:xfrm>
            <a:off x="-3439886" y="68474"/>
            <a:ext cx="3312886" cy="1759416"/>
            <a:chOff x="-3451566" y="560902"/>
            <a:chExt cx="3146766" cy="175941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F6F9A96-180B-4580-9510-237637B2AF06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14927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lect the overlay (the ray and the echo) by clicking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on the blue part in the bottom-left corner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overlay and select Send to Back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outside the slide to de-select the overlay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w select the picture and delete it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picture icon and insert another picture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inserted picture and choose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nd to Back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4EAB682-5474-4F33-8AAA-6DC65F5D5AC1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change the existing pictur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7E44729C-D5C1-48F0-9C94-97F4D0EDA1D9}"/>
              </a:ext>
            </a:extLst>
          </p:cNvPr>
          <p:cNvSpPr txBox="1">
            <a:spLocks/>
          </p:cNvSpPr>
          <p:nvPr/>
        </p:nvSpPr>
        <p:spPr bwMode="gray">
          <a:xfrm>
            <a:off x="-3433507" y="3292231"/>
            <a:ext cx="3185671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Refer to the guidelines in this template </a:t>
            </a:r>
            <a:b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</a:b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in order to </a:t>
            </a:r>
            <a:r>
              <a:rPr lang="en-GB" sz="1200" b="1">
                <a:solidFill>
                  <a:schemeClr val="accent1"/>
                </a:solidFill>
                <a:latin typeface="DFDS Light" panose="02000000000000000000" pitchFamily="50" charset="0"/>
              </a:rPr>
              <a:t>crop, scale and resize pictures</a:t>
            </a: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.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BFE6300-C126-498A-84C1-60AE1F6815CB}"/>
              </a:ext>
            </a:extLst>
          </p:cNvPr>
          <p:cNvGrpSpPr/>
          <p:nvPr/>
        </p:nvGrpSpPr>
        <p:grpSpPr bwMode="gray">
          <a:xfrm>
            <a:off x="-3439886" y="2191304"/>
            <a:ext cx="3312886" cy="759143"/>
            <a:chOff x="-3451566" y="560902"/>
            <a:chExt cx="3146766" cy="759143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C467D1A-F3BD-4F7B-92B3-3B85BF36777B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picture icon and insert a picture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inserted picture and choose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nd to Back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E93AAD8-C415-4BCB-9A8E-44B3A4EDC780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insert a picture on a new breaker slid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43093CD4-D870-40C7-8E7B-CB383FE6BEC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18282" y="219076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960269 h 6419849"/>
              <a:gd name="connsiteX3" fmla="*/ 11021140 w 11755436"/>
              <a:gd name="connsiteY3" fmla="*/ 5960269 h 6419849"/>
              <a:gd name="connsiteX4" fmla="*/ 10748951 w 11755436"/>
              <a:gd name="connsiteY4" fmla="*/ 6417469 h 6419849"/>
              <a:gd name="connsiteX5" fmla="*/ 10750368 w 11755436"/>
              <a:gd name="connsiteY5" fmla="*/ 6419849 h 6419849"/>
              <a:gd name="connsiteX6" fmla="*/ 0 w 11755436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960269"/>
                </a:lnTo>
                <a:lnTo>
                  <a:pt x="11021140" y="5960269"/>
                </a:lnTo>
                <a:lnTo>
                  <a:pt x="10748951" y="6417469"/>
                </a:lnTo>
                <a:lnTo>
                  <a:pt x="10750368" y="6419849"/>
                </a:lnTo>
                <a:lnTo>
                  <a:pt x="0" y="6419849"/>
                </a:lnTo>
                <a:close/>
              </a:path>
            </a:pathLst>
          </a:custGeom>
          <a:noFill/>
        </p:spPr>
        <p:txBody>
          <a:bodyPr wrap="square" lIns="0" tIns="0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EB19AA-21AA-4E1A-9C31-116A175DCDC3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BF89C21E-E5D7-4CB1-95C5-EC236E3AC20A}" type="datetime1">
              <a:rPr lang="en-GB" noProof="0" smtClean="0"/>
              <a:t>26/08/2021</a:t>
            </a:fld>
            <a:endParaRPr lang="en-GB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40C0B-0F1F-4842-B583-71CA128B8BB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endParaRPr lang="en-GB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4E0AB-08FF-442C-9085-7042B01AE66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A36BB336-FA68-49FA-BBEA-E8420972406D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82C4400-AED9-430A-8120-0CA58C989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4" y="2085975"/>
            <a:ext cx="4375974" cy="1661993"/>
          </a:xfrm>
        </p:spPr>
        <p:txBody>
          <a:bodyPr wrap="square" anchor="ctr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breaker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866F86E-8E64-448C-AF5C-0844428E62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11753" y="1049413"/>
            <a:ext cx="1480494" cy="1480494"/>
          </a:xfrm>
          <a:prstGeom prst="ellipse">
            <a:avLst/>
          </a:prstGeom>
          <a:solidFill>
            <a:srgbClr val="FF0000"/>
          </a:solidFill>
        </p:spPr>
        <p:txBody>
          <a:bodyPr lIns="0" tIns="0" rIns="0" bIns="0"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  <a:lvl2pPr marL="180975" indent="0" algn="ctr">
              <a:buNone/>
              <a:defRPr>
                <a:solidFill>
                  <a:schemeClr val="bg1"/>
                </a:solidFill>
              </a:defRPr>
            </a:lvl2pPr>
            <a:lvl3pPr marL="361950" indent="0" algn="ctr">
              <a:buNone/>
              <a:defRPr>
                <a:solidFill>
                  <a:schemeClr val="bg1"/>
                </a:solidFill>
              </a:defRPr>
            </a:lvl3pPr>
            <a:lvl4pPr marL="361950" indent="0" algn="ctr">
              <a:buNone/>
              <a:defRPr>
                <a:solidFill>
                  <a:schemeClr val="bg1"/>
                </a:solidFill>
              </a:defRPr>
            </a:lvl4pPr>
            <a:lvl5pPr marL="36195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Read and delete: This layout is only to be used for breaker slides</a:t>
            </a:r>
          </a:p>
        </p:txBody>
      </p:sp>
    </p:spTree>
    <p:extLst>
      <p:ext uri="{BB962C8B-B14F-4D97-AF65-F5344CB8AC3E}">
        <p14:creationId xmlns:p14="http://schemas.microsoft.com/office/powerpoint/2010/main" val="390629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 Wide 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7D47687-37BC-4EB1-BD57-3818D187ABE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18282" y="219076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960269 h 6419849"/>
              <a:gd name="connsiteX3" fmla="*/ 11021140 w 11755436"/>
              <a:gd name="connsiteY3" fmla="*/ 5960269 h 6419849"/>
              <a:gd name="connsiteX4" fmla="*/ 10748951 w 11755436"/>
              <a:gd name="connsiteY4" fmla="*/ 6417469 h 6419849"/>
              <a:gd name="connsiteX5" fmla="*/ 10750368 w 11755436"/>
              <a:gd name="connsiteY5" fmla="*/ 6419849 h 6419849"/>
              <a:gd name="connsiteX6" fmla="*/ 0 w 11755436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960269"/>
                </a:lnTo>
                <a:lnTo>
                  <a:pt x="11021140" y="5960269"/>
                </a:lnTo>
                <a:lnTo>
                  <a:pt x="10748951" y="6417469"/>
                </a:lnTo>
                <a:lnTo>
                  <a:pt x="10750368" y="6419849"/>
                </a:lnTo>
                <a:lnTo>
                  <a:pt x="0" y="641984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E6D0595-868E-4EBD-922F-7A139555E4E7}"/>
              </a:ext>
            </a:extLst>
          </p:cNvPr>
          <p:cNvGrpSpPr/>
          <p:nvPr/>
        </p:nvGrpSpPr>
        <p:grpSpPr bwMode="gray">
          <a:xfrm>
            <a:off x="-3439886" y="68474"/>
            <a:ext cx="3312886" cy="1759416"/>
            <a:chOff x="-3451566" y="560902"/>
            <a:chExt cx="3146766" cy="175941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F6F9A96-180B-4580-9510-237637B2AF06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14927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lect the overlay (the ray and the echo) by clicking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on the blue part in the bottom-left corner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overlay and select Send to Back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outside the slide to de-select the overlay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w select the picture and delete it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picture icon and insert another picture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inserted picture and choose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nd to Back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4EAB682-5474-4F33-8AAA-6DC65F5D5AC1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change the existing pictur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7E44729C-D5C1-48F0-9C94-97F4D0EDA1D9}"/>
              </a:ext>
            </a:extLst>
          </p:cNvPr>
          <p:cNvSpPr txBox="1">
            <a:spLocks/>
          </p:cNvSpPr>
          <p:nvPr/>
        </p:nvSpPr>
        <p:spPr bwMode="gray">
          <a:xfrm>
            <a:off x="-3433507" y="3292231"/>
            <a:ext cx="3185671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Refer to the guidelines in this template </a:t>
            </a:r>
            <a:b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</a:b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in order to </a:t>
            </a:r>
            <a:r>
              <a:rPr lang="en-GB" sz="1200" b="1">
                <a:solidFill>
                  <a:schemeClr val="accent1"/>
                </a:solidFill>
                <a:latin typeface="DFDS Light" panose="02000000000000000000" pitchFamily="50" charset="0"/>
              </a:rPr>
              <a:t>crop, scale and resize pictures</a:t>
            </a:r>
            <a:r>
              <a:rPr lang="en-GB" sz="1200" b="0">
                <a:solidFill>
                  <a:schemeClr val="accent1"/>
                </a:solidFill>
                <a:latin typeface="DFDS Light" panose="02000000000000000000" pitchFamily="50" charset="0"/>
              </a:rPr>
              <a:t>.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BFE6300-C126-498A-84C1-60AE1F6815CB}"/>
              </a:ext>
            </a:extLst>
          </p:cNvPr>
          <p:cNvGrpSpPr/>
          <p:nvPr/>
        </p:nvGrpSpPr>
        <p:grpSpPr bwMode="gray">
          <a:xfrm>
            <a:off x="-3439886" y="2191304"/>
            <a:ext cx="3312886" cy="759143"/>
            <a:chOff x="-3451566" y="560902"/>
            <a:chExt cx="3146766" cy="759143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C467D1A-F3BD-4F7B-92B3-3B85BF36777B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827602"/>
              <a:ext cx="3146766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Click the picture icon and insert a picture</a:t>
              </a:r>
            </a:p>
            <a:p>
              <a:pPr marL="180975" indent="-180975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AutoNum type="arabicPeriod"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Right-click the inserted picture and choose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Send to Back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E93AAD8-C415-4BCB-9A8E-44B3A4EDC780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-3451566" y="560902"/>
              <a:ext cx="3025930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DFDS Light" panose="02000000000000000000" pitchFamily="50" charset="0"/>
                </a:rPr>
                <a:t>How to insert a picture on a new breaker slide</a:t>
              </a:r>
              <a:endParaRPr lang="en-GB" sz="1200">
                <a:solidFill>
                  <a:schemeClr val="accent1"/>
                </a:solidFill>
                <a:latin typeface="DFDS Light" panose="02000000000000000000" pitchFamily="50" charset="0"/>
              </a:endParaRPr>
            </a:p>
          </p:txBody>
        </p:sp>
      </p:grp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7CF953B-2F7B-4E09-A291-40684803DFA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18282" y="219076"/>
            <a:ext cx="11755436" cy="6419849"/>
          </a:xfrm>
          <a:custGeom>
            <a:avLst/>
            <a:gdLst>
              <a:gd name="connsiteX0" fmla="*/ 0 w 11755436"/>
              <a:gd name="connsiteY0" fmla="*/ 0 h 6419849"/>
              <a:gd name="connsiteX1" fmla="*/ 11755436 w 11755436"/>
              <a:gd name="connsiteY1" fmla="*/ 0 h 6419849"/>
              <a:gd name="connsiteX2" fmla="*/ 11755436 w 11755436"/>
              <a:gd name="connsiteY2" fmla="*/ 5960269 h 6419849"/>
              <a:gd name="connsiteX3" fmla="*/ 11021140 w 11755436"/>
              <a:gd name="connsiteY3" fmla="*/ 5960269 h 6419849"/>
              <a:gd name="connsiteX4" fmla="*/ 10748951 w 11755436"/>
              <a:gd name="connsiteY4" fmla="*/ 6417469 h 6419849"/>
              <a:gd name="connsiteX5" fmla="*/ 10750368 w 11755436"/>
              <a:gd name="connsiteY5" fmla="*/ 6419849 h 6419849"/>
              <a:gd name="connsiteX6" fmla="*/ 0 w 11755436"/>
              <a:gd name="connsiteY6" fmla="*/ 6419849 h 641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55436" h="6419849">
                <a:moveTo>
                  <a:pt x="0" y="0"/>
                </a:moveTo>
                <a:lnTo>
                  <a:pt x="11755436" y="0"/>
                </a:lnTo>
                <a:lnTo>
                  <a:pt x="11755436" y="5960269"/>
                </a:lnTo>
                <a:lnTo>
                  <a:pt x="11021140" y="5960269"/>
                </a:lnTo>
                <a:lnTo>
                  <a:pt x="10748951" y="6417469"/>
                </a:lnTo>
                <a:lnTo>
                  <a:pt x="10750368" y="6419849"/>
                </a:lnTo>
                <a:lnTo>
                  <a:pt x="0" y="6419849"/>
                </a:lnTo>
                <a:close/>
              </a:path>
            </a:pathLst>
          </a:custGeom>
          <a:noFill/>
        </p:spPr>
        <p:txBody>
          <a:bodyPr wrap="square" lIns="0" tIns="0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EB19AA-21AA-4E1A-9C31-116A175DCDC3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060F70F3-5D35-4081-B844-42BED3511F74}" type="datetime1">
              <a:rPr lang="en-GB" noProof="0" smtClean="0"/>
              <a:t>26/08/2021</a:t>
            </a:fld>
            <a:endParaRPr lang="en-GB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40C0B-0F1F-4842-B583-71CA128B8BB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endParaRPr lang="en-GB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4E0AB-08FF-442C-9085-7042B01AE66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A36BB336-FA68-49FA-BBEA-E8420972406D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82C4400-AED9-430A-8120-0CA58C989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4" y="2085975"/>
            <a:ext cx="5362800" cy="1661993"/>
          </a:xfrm>
        </p:spPr>
        <p:txBody>
          <a:bodyPr wrap="square" anchor="ctr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breaker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ADE38F6-DFC4-4FD4-A29D-3C61A1F889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05006" y="1272306"/>
            <a:ext cx="1480494" cy="1480494"/>
          </a:xfrm>
          <a:prstGeom prst="ellipse">
            <a:avLst/>
          </a:prstGeom>
          <a:solidFill>
            <a:srgbClr val="FF0000"/>
          </a:solidFill>
        </p:spPr>
        <p:txBody>
          <a:bodyPr lIns="0" tIns="0" rIns="0" bIns="0"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  <a:lvl2pPr marL="180975" indent="0" algn="ctr">
              <a:buNone/>
              <a:defRPr>
                <a:solidFill>
                  <a:schemeClr val="bg1"/>
                </a:solidFill>
              </a:defRPr>
            </a:lvl2pPr>
            <a:lvl3pPr marL="361950" indent="0" algn="ctr">
              <a:buNone/>
              <a:defRPr>
                <a:solidFill>
                  <a:schemeClr val="bg1"/>
                </a:solidFill>
              </a:defRPr>
            </a:lvl3pPr>
            <a:lvl4pPr marL="361950" indent="0" algn="ctr">
              <a:buNone/>
              <a:defRPr>
                <a:solidFill>
                  <a:schemeClr val="bg1"/>
                </a:solidFill>
              </a:defRPr>
            </a:lvl4pPr>
            <a:lvl5pPr marL="36195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Read and delete: This layout is only to be used for breaker slides</a:t>
            </a:r>
          </a:p>
        </p:txBody>
      </p:sp>
    </p:spTree>
    <p:extLst>
      <p:ext uri="{BB962C8B-B14F-4D97-AF65-F5344CB8AC3E}">
        <p14:creationId xmlns:p14="http://schemas.microsoft.com/office/powerpoint/2010/main" val="273071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86ABAC-8AF5-4319-8165-37C84CC3885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42913" y="1628775"/>
            <a:ext cx="5437087" cy="443198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DFDS Bold" panose="02000000000000000000" pitchFamily="50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D59B0F-0EAD-449B-A851-823C2FDBD24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3" y="2241548"/>
            <a:ext cx="5437087" cy="38211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11974F-B973-477B-8A3D-B9C5B69C7E9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 bwMode="gray">
          <a:xfrm>
            <a:off x="6312000" y="1628775"/>
            <a:ext cx="5437087" cy="443198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DFDS Bold" panose="02000000000000000000" pitchFamily="50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7EE82064-40D1-4C69-B3F6-FDFEBE63C0E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 bwMode="gray">
          <a:xfrm>
            <a:off x="6312000" y="2241548"/>
            <a:ext cx="5437087" cy="382111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ABD82D-0A30-4B69-BDC9-DF64EEAF0B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8A4920-A3DA-40AB-AEEC-5F2269648B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627F1A4-5EBF-49A1-80F8-68C4BEE9FEDD}" type="datetime1">
              <a:rPr lang="en-GB" smtClean="0"/>
              <a:t>26/08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F5DCA7-E76C-4AC8-94D1-287E3E0F087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97EC825-E10E-4757-BB59-33FE00A1DDE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64AA2588-CF1A-4565-BE39-2A56EF2C0248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38BDA03-A1DF-46E7-A67B-8061753C2468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784D02D-28E0-451A-BECE-FC2C4079BFD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7415828-9CEF-4DF7-A731-31C36E8220B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2402B0F-F76A-4175-816A-B6BD817A8DB4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4A41B486-058C-4F6B-BDA7-913C920C8E5F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A5E8F05-9B60-450B-9C2C-18E7861B2FF5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312057C-313F-487F-A349-61C7BAC4FC59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2753758-801E-46A5-89BE-0467A3749226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BF0101A8-5F31-41D2-BA5D-99F7D6070D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A041452-46D3-4D75-BDDF-88F56BDC050B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13191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  <p15:guide id="2" orient="horz" pos="1307">
          <p15:clr>
            <a:srgbClr val="FBAE40"/>
          </p15:clr>
        </p15:guide>
        <p15:guide id="3" pos="3704">
          <p15:clr>
            <a:srgbClr val="FBAE40"/>
          </p15:clr>
        </p15:guide>
        <p15:guide id="4" pos="397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86ABAC-8AF5-4319-8165-37C84CC3885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42913" y="1628775"/>
            <a:ext cx="3480726" cy="443198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DFDS Bold" panose="02000000000000000000" pitchFamily="50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D59B0F-0EAD-449B-A851-823C2FDBD24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3" y="2241551"/>
            <a:ext cx="3480726" cy="38211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11974F-B973-477B-8A3D-B9C5B69C7E9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 bwMode="gray">
          <a:xfrm>
            <a:off x="8268363" y="1628775"/>
            <a:ext cx="3480726" cy="443198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DFDS Bold" panose="02000000000000000000" pitchFamily="50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A3CAD0A-1813-43A6-A218-17639157D2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 bwMode="gray">
          <a:xfrm>
            <a:off x="8268363" y="2241550"/>
            <a:ext cx="3480726" cy="382111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25E756-83C8-48AD-86FA-B9036DC35F0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 bwMode="gray">
          <a:xfrm>
            <a:off x="4355638" y="1628775"/>
            <a:ext cx="3480726" cy="443198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DFDS Bold" panose="02000000000000000000" pitchFamily="50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EFE8EA0-150E-440B-9384-5DDDD7EF4EE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 bwMode="gray">
          <a:xfrm>
            <a:off x="4355638" y="2241550"/>
            <a:ext cx="3480726" cy="38211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98FC18-DDB4-4A60-926C-0654CBABC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F7B8F4-734D-4961-B14A-CD2FD97DB5D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A227F20-04CB-4415-A380-6888E244BE7F}" type="datetime1">
              <a:rPr lang="en-GB" smtClean="0"/>
              <a:t>26/08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5B748A-56C8-4B7A-9942-C747AF5D2F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9C05F60-2843-407F-B52D-8B553CF7519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8E227A24-E064-4800-8F73-6606CAED386C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9FC43A6-300E-45B6-9AF4-17F9E6047203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37AEB30-7F97-48C9-A547-A9E49163FA0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B9CCE9C-7B75-450C-BB9C-A50EAEA954D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038053D-D31F-408B-B870-17DC5FBF314E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711DDFF2-A3A2-47D1-8BAB-DDAE32AF3BBC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9782DE6-FF83-45BE-A7A2-AD64DAF39E5C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1640357-39B8-4169-A683-597F3F0D5012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378163C-1791-4356-B3C1-FA95143BB021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9B8BFB48-E87C-4F49-B44E-E32861426EB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27FA44C-DC1B-4ADA-A294-7E16EA1E14E3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42146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orient="horz" pos="1307">
          <p15:clr>
            <a:srgbClr val="FBAE40"/>
          </p15:clr>
        </p15:guide>
        <p15:guide id="2" orient="horz" pos="1412">
          <p15:clr>
            <a:srgbClr val="FBAE40"/>
          </p15:clr>
        </p15:guide>
        <p15:guide id="3" pos="2472">
          <p15:clr>
            <a:srgbClr val="FBAE40"/>
          </p15:clr>
        </p15:guide>
        <p15:guide id="4" pos="2744">
          <p15:clr>
            <a:srgbClr val="FBAE40"/>
          </p15:clr>
        </p15:guide>
        <p15:guide id="5" pos="4937">
          <p15:clr>
            <a:srgbClr val="FBAE40"/>
          </p15:clr>
        </p15:guide>
        <p15:guide id="6" pos="52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11974F-B973-477B-8A3D-B9C5B69C7E9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 bwMode="gray">
          <a:xfrm>
            <a:off x="9246545" y="1628775"/>
            <a:ext cx="2502544" cy="443198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DFDS Bold" panose="02000000000000000000" pitchFamily="50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25E756-83C8-48AD-86FA-B9036DC35F0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 bwMode="gray">
          <a:xfrm>
            <a:off x="3377458" y="1628775"/>
            <a:ext cx="2502544" cy="443198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DFDS Bold" panose="02000000000000000000" pitchFamily="50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C14BF2C-3681-4DCD-BEFC-E8CD0DB1ACD3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 bwMode="gray">
          <a:xfrm>
            <a:off x="6312002" y="1628775"/>
            <a:ext cx="2502544" cy="443198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DFDS Bold" panose="02000000000000000000" pitchFamily="50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0783D41-C87F-4DCC-BFB8-22A11B401D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DD7C51F-74C4-4DB7-86C5-EEA1E03A0D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42914" y="1628775"/>
            <a:ext cx="2503487" cy="443198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DFDS Bold" panose="02000000000000000000" pitchFamily="50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 – max 2 lines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id="{88E51B76-275B-4759-A868-E9D15427BAA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442914" y="2241550"/>
            <a:ext cx="2503487" cy="38211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886DA6CB-FF92-40A5-A81E-754EDC2FF7F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3377458" y="2241550"/>
            <a:ext cx="2503487" cy="38211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id="{7A90E060-AC78-41C4-B2EF-61D07F7ED8B8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6312002" y="2241550"/>
            <a:ext cx="2503487" cy="38211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BC1EA7BE-77B9-480F-91DA-258503D10906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9246545" y="2241550"/>
            <a:ext cx="2503487" cy="38211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0B6B99-1F83-4EAA-A2FE-1231F632573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DFD20733-6F7A-46C8-AADA-D912E65C6E3E}" type="datetime1">
              <a:rPr lang="en-GB" smtClean="0"/>
              <a:t>26/08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2AE7C9-6FFA-4226-93A7-F7197F46E0F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A97743-DAC0-4407-9100-7263D1A9B17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9C48B943-AEE2-4AFB-965A-556BC4C096B7}"/>
              </a:ext>
            </a:extLst>
          </p:cNvPr>
          <p:cNvSpPr>
            <a:spLocks/>
          </p:cNvSpPr>
          <p:nvPr/>
        </p:nvSpPr>
        <p:spPr>
          <a:xfrm>
            <a:off x="10504487" y="6062662"/>
            <a:ext cx="1808163" cy="913511"/>
          </a:xfrm>
          <a:custGeom>
            <a:avLst/>
            <a:gdLst>
              <a:gd name="connsiteX0" fmla="*/ 2349500 w 2466975"/>
              <a:gd name="connsiteY0" fmla="*/ 0 h 1447800"/>
              <a:gd name="connsiteX1" fmla="*/ 2466975 w 2466975"/>
              <a:gd name="connsiteY1" fmla="*/ 0 h 1447800"/>
              <a:gd name="connsiteX2" fmla="*/ 2466975 w 2466975"/>
              <a:gd name="connsiteY2" fmla="*/ 1447800 h 1447800"/>
              <a:gd name="connsiteX3" fmla="*/ 0 w 2466975"/>
              <a:gd name="connsiteY3" fmla="*/ 1447800 h 1447800"/>
              <a:gd name="connsiteX4" fmla="*/ 0 w 2466975"/>
              <a:gd name="connsiteY4" fmla="*/ 133985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975" h="1447800">
                <a:moveTo>
                  <a:pt x="2349500" y="0"/>
                </a:moveTo>
                <a:lnTo>
                  <a:pt x="2466975" y="0"/>
                </a:lnTo>
                <a:lnTo>
                  <a:pt x="2466975" y="1447800"/>
                </a:lnTo>
                <a:lnTo>
                  <a:pt x="0" y="1447800"/>
                </a:lnTo>
                <a:lnTo>
                  <a:pt x="0" y="1339850"/>
                </a:lnTo>
              </a:path>
            </a:pathLst>
          </a:cu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DFDS Light" panose="02000000000000000000" pitchFamily="50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982921C-F0EC-4A3C-985C-841EAD5912D8}"/>
              </a:ext>
            </a:extLst>
          </p:cNvPr>
          <p:cNvGrpSpPr/>
          <p:nvPr/>
        </p:nvGrpSpPr>
        <p:grpSpPr>
          <a:xfrm>
            <a:off x="12439650" y="6062662"/>
            <a:ext cx="1808163" cy="1123140"/>
            <a:chOff x="12439650" y="6062662"/>
            <a:chExt cx="1808163" cy="1123140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D185D1B-4B75-400B-A9DF-C9D95C76C45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416361"/>
              <a:ext cx="1808163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he dotted line indicates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a square in which you should </a:t>
              </a:r>
              <a:b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not place content.</a:t>
              </a:r>
            </a:p>
            <a:p>
              <a:pPr marL="0" indent="0"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</a:pPr>
              <a:r>
                <a:rPr lang="en-GB" sz="1000" b="0">
                  <a:solidFill>
                    <a:schemeClr val="tx2"/>
                  </a:solidFill>
                  <a:latin typeface="DFDS Light" panose="02000000000000000000" pitchFamily="50" charset="0"/>
                </a:rPr>
                <a:t>Tip: you can create a soft line break in text with Shift + Enter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C6BE53B-5E88-4A7B-9D81-256DD424CE8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439650" y="6062662"/>
              <a:ext cx="180816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Leave a clear area </a:t>
              </a:r>
              <a:b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</a:br>
              <a:r>
                <a:rPr lang="en-GB" sz="1200" b="1">
                  <a:solidFill>
                    <a:schemeClr val="tx2"/>
                  </a:solidFill>
                  <a:latin typeface="DFDS Light" panose="02000000000000000000" pitchFamily="50" charset="0"/>
                </a:rPr>
                <a:t>around the logo</a:t>
              </a:r>
              <a:endParaRPr lang="en-GB" sz="1200">
                <a:solidFill>
                  <a:schemeClr val="tx2"/>
                </a:solidFill>
                <a:latin typeface="DFDS Light" panose="02000000000000000000" pitchFamily="50" charset="0"/>
              </a:endParaRPr>
            </a:p>
          </p:txBody>
        </p: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6A1B47D-560F-4FC0-9054-3B2D3B807E9D}"/>
              </a:ext>
            </a:extLst>
          </p:cNvPr>
          <p:cNvCxnSpPr>
            <a:cxnSpLocks/>
          </p:cNvCxnSpPr>
          <p:nvPr/>
        </p:nvCxnSpPr>
        <p:spPr>
          <a:xfrm flipV="1">
            <a:off x="-165100" y="1638300"/>
            <a:ext cx="0" cy="442801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B674A7CA-F0EB-469B-B188-8DB0508FD95A}"/>
              </a:ext>
            </a:extLst>
          </p:cNvPr>
          <p:cNvSpPr txBox="1">
            <a:spLocks/>
          </p:cNvSpPr>
          <p:nvPr/>
        </p:nvSpPr>
        <p:spPr>
          <a:xfrm>
            <a:off x="-1215391" y="3783059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Content area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89E8462-2527-41CB-9CA1-9A195B3890E9}"/>
              </a:ext>
            </a:extLst>
          </p:cNvPr>
          <p:cNvSpPr txBox="1">
            <a:spLocks/>
          </p:cNvSpPr>
          <p:nvPr/>
        </p:nvSpPr>
        <p:spPr>
          <a:xfrm>
            <a:off x="-1215391" y="856712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Title area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E29B67F-B00C-42CB-BE68-2860A6EDE370}"/>
              </a:ext>
            </a:extLst>
          </p:cNvPr>
          <p:cNvSpPr txBox="1">
            <a:spLocks/>
          </p:cNvSpPr>
          <p:nvPr/>
        </p:nvSpPr>
        <p:spPr>
          <a:xfrm>
            <a:off x="-1215391" y="6199887"/>
            <a:ext cx="92611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GB" sz="1000" b="0">
                <a:solidFill>
                  <a:schemeClr val="tx2"/>
                </a:solidFill>
                <a:latin typeface="DFDS Light" panose="02000000000000000000" pitchFamily="50" charset="0"/>
              </a:rPr>
              <a:t>Notes area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8D869A2-DC65-4AF6-B135-6357C1481700}"/>
              </a:ext>
            </a:extLst>
          </p:cNvPr>
          <p:cNvCxnSpPr>
            <a:cxnSpLocks/>
          </p:cNvCxnSpPr>
          <p:nvPr/>
        </p:nvCxnSpPr>
        <p:spPr>
          <a:xfrm flipV="1">
            <a:off x="-165100" y="538163"/>
            <a:ext cx="0" cy="775597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27CB78FB-AA8E-4913-A0AF-5209377D4E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42913" y="6115248"/>
            <a:ext cx="10061567" cy="279813"/>
          </a:xfrm>
        </p:spPr>
        <p:txBody>
          <a:bodyPr wrap="square" anchor="b">
            <a:noAutofit/>
          </a:bodyPr>
          <a:lstStyle>
            <a:lvl1pPr marL="0" indent="0">
              <a:lnSpc>
                <a:spcPts val="65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Click to insert notes, footnotes, and sources – max 3 lines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FE6E66E-41D0-4B9C-8B5B-74C5AE75C6AE}"/>
              </a:ext>
            </a:extLst>
          </p:cNvPr>
          <p:cNvCxnSpPr>
            <a:cxnSpLocks/>
          </p:cNvCxnSpPr>
          <p:nvPr/>
        </p:nvCxnSpPr>
        <p:spPr>
          <a:xfrm flipV="1">
            <a:off x="-165100" y="6115248"/>
            <a:ext cx="0" cy="279813"/>
          </a:xfrm>
          <a:prstGeom prst="line">
            <a:avLst/>
          </a:prstGeom>
          <a:noFill/>
          <a:ln w="3175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5015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orient="horz" pos="1307">
          <p15:clr>
            <a:srgbClr val="FBAE40"/>
          </p15:clr>
        </p15:guide>
        <p15:guide id="2" orient="horz" pos="1412">
          <p15:clr>
            <a:srgbClr val="FBAE40"/>
          </p15:clr>
        </p15:guide>
        <p15:guide id="3" pos="1856">
          <p15:clr>
            <a:srgbClr val="FBAE40"/>
          </p15:clr>
        </p15:guide>
        <p15:guide id="4" pos="2127">
          <p15:clr>
            <a:srgbClr val="FBAE40"/>
          </p15:clr>
        </p15:guide>
        <p15:guide id="5" pos="5553">
          <p15:clr>
            <a:srgbClr val="FBAE40"/>
          </p15:clr>
        </p15:guide>
        <p15:guide id="6" pos="5825">
          <p15:clr>
            <a:srgbClr val="FBAE40"/>
          </p15:clr>
        </p15:guide>
        <p15:guide id="7" pos="3704">
          <p15:clr>
            <a:srgbClr val="FBAE40"/>
          </p15:clr>
        </p15:guide>
        <p15:guide id="8" pos="397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7C11E7BE-B203-40B5-BAC4-17DB03B82B26}"/>
              </a:ext>
            </a:extLst>
          </p:cNvPr>
          <p:cNvSpPr>
            <a:spLocks/>
          </p:cNvSpPr>
          <p:nvPr/>
        </p:nvSpPr>
        <p:spPr>
          <a:xfrm>
            <a:off x="0" y="0"/>
            <a:ext cx="12191999" cy="6858000"/>
          </a:xfrm>
          <a:custGeom>
            <a:avLst/>
            <a:gdLst>
              <a:gd name="connsiteX0" fmla="*/ 218281 w 12191999"/>
              <a:gd name="connsiteY0" fmla="*/ 219076 h 6858000"/>
              <a:gd name="connsiteX1" fmla="*/ 218281 w 12191999"/>
              <a:gd name="connsiteY1" fmla="*/ 6638925 h 6858000"/>
              <a:gd name="connsiteX2" fmla="*/ 10966269 w 12191999"/>
              <a:gd name="connsiteY2" fmla="*/ 6638925 h 6858000"/>
              <a:gd name="connsiteX3" fmla="*/ 10964853 w 12191999"/>
              <a:gd name="connsiteY3" fmla="*/ 6636545 h 6858000"/>
              <a:gd name="connsiteX4" fmla="*/ 11237041 w 12191999"/>
              <a:gd name="connsiteY4" fmla="*/ 6179345 h 6858000"/>
              <a:gd name="connsiteX5" fmla="*/ 11973717 w 12191999"/>
              <a:gd name="connsiteY5" fmla="*/ 6179345 h 6858000"/>
              <a:gd name="connsiteX6" fmla="*/ 11973717 w 12191999"/>
              <a:gd name="connsiteY6" fmla="*/ 219076 h 6858000"/>
              <a:gd name="connsiteX7" fmla="*/ 0 w 12191999"/>
              <a:gd name="connsiteY7" fmla="*/ 0 h 6858000"/>
              <a:gd name="connsiteX8" fmla="*/ 12191999 w 12191999"/>
              <a:gd name="connsiteY8" fmla="*/ 0 h 6858000"/>
              <a:gd name="connsiteX9" fmla="*/ 12191999 w 12191999"/>
              <a:gd name="connsiteY9" fmla="*/ 6858000 h 6858000"/>
              <a:gd name="connsiteX10" fmla="*/ 0 w 12191999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1999" h="6858000">
                <a:moveTo>
                  <a:pt x="218281" y="219076"/>
                </a:moveTo>
                <a:lnTo>
                  <a:pt x="218281" y="6638925"/>
                </a:lnTo>
                <a:lnTo>
                  <a:pt x="10966269" y="6638925"/>
                </a:lnTo>
                <a:lnTo>
                  <a:pt x="10964853" y="6636545"/>
                </a:lnTo>
                <a:lnTo>
                  <a:pt x="11237041" y="6179345"/>
                </a:lnTo>
                <a:lnTo>
                  <a:pt x="11973717" y="6179345"/>
                </a:lnTo>
                <a:lnTo>
                  <a:pt x="11973717" y="219076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endParaRPr lang="da-DK">
              <a:solidFill>
                <a:schemeClr val="bg1"/>
              </a:solidFill>
              <a:latin typeface="DFDS Light" panose="02000000000000000000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F43AED-8E72-49CC-8FC8-BD89C5DD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38163"/>
            <a:ext cx="11306175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684AF-1257-4D22-9A84-CB58C11D3A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1638300"/>
            <a:ext cx="11306175" cy="44243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3BB89-C059-4C3E-B2B4-A3BC91500A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39242" y="6426955"/>
            <a:ext cx="126523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DFDS Light" panose="02000000000000000000" pitchFamily="50" charset="0"/>
              </a:defRPr>
            </a:lvl1pPr>
          </a:lstStyle>
          <a:p>
            <a:fld id="{82EEF16D-A20F-42EF-9465-28EE7595DED9}" type="datetime1">
              <a:rPr lang="en-GB" smtClean="0"/>
              <a:pPr/>
              <a:t>26/08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00C8A9-59BC-4122-A862-0CD12BD916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3" y="6426955"/>
            <a:ext cx="419219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2"/>
                </a:solidFill>
                <a:latin typeface="DFDS Light" panose="020000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948D20-A898-4F47-8D4B-5103B7932B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10225" y="6426956"/>
            <a:ext cx="9715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 b="1">
                <a:solidFill>
                  <a:schemeClr val="tx2"/>
                </a:solidFill>
                <a:latin typeface="DFDS Light" panose="02000000000000000000" pitchFamily="50" charset="0"/>
              </a:defRPr>
            </a:lvl1pPr>
          </a:lstStyle>
          <a:p>
            <a:fld id="{A36BB336-FA68-49FA-BBEA-E8420972406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A3A5065A-E042-453D-9C61-9DE74B28C947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1191876" y="6290153"/>
            <a:ext cx="683417" cy="236100"/>
          </a:xfrm>
          <a:prstGeom prst="rect">
            <a:avLst/>
          </a:prstGeom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280A12-DD9A-46A8-BFBD-46BFC5F17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280A12-DD9A-46A8-BFBD-46BFC5F17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C520075-07EF-448E-BC93-8D30DE6B379A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>
              <a:solidFill>
                <a:schemeClr val="bg1"/>
              </a:solidFill>
              <a:latin typeface="DFDS Bold" panose="00000800000000000000" pitchFamily="2" charset="0"/>
              <a:ea typeface="+mj-ea"/>
              <a:cs typeface="+mj-cs"/>
              <a:sym typeface="DFDS Bold" panose="000008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309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5" r:id="rId24"/>
    <p:sldLayoutId id="2147483716" r:id="rId25"/>
    <p:sldLayoutId id="2147483717" r:id="rId26"/>
    <p:sldLayoutId id="2147483718" r:id="rId27"/>
    <p:sldLayoutId id="2147483719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DFDS Bold" panose="02000000000000000000" pitchFamily="50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DFDS" panose="00000500000000000000" pitchFamily="2" charset="0"/>
        <a:buChar char="•"/>
        <a:defRPr sz="1600" kern="1200">
          <a:solidFill>
            <a:schemeClr val="tx2"/>
          </a:solidFill>
          <a:latin typeface="DFDS Light" panose="02000000000000000000" pitchFamily="50" charset="0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DFDS" panose="00000500000000000000" pitchFamily="2" charset="0"/>
        <a:buChar char="-"/>
        <a:defRPr sz="1600" kern="1200">
          <a:solidFill>
            <a:schemeClr val="tx2"/>
          </a:solidFill>
          <a:latin typeface="DFDS Light" panose="02000000000000000000" pitchFamily="50" charset="0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DFDS Light" panose="02000000000000000000" pitchFamily="50" charset="0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DFDS Light" panose="02000000000000000000" pitchFamily="50" charset="0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DFDS Light" panose="020000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39">
          <p15:clr>
            <a:srgbClr val="F26B43"/>
          </p15:clr>
        </p15:guide>
        <p15:guide id="3" orient="horz" pos="828">
          <p15:clr>
            <a:srgbClr val="F26B43"/>
          </p15:clr>
        </p15:guide>
        <p15:guide id="4" orient="horz" pos="1026">
          <p15:clr>
            <a:srgbClr val="F26B43"/>
          </p15:clr>
        </p15:guide>
        <p15:guide id="7" pos="7401">
          <p15:clr>
            <a:srgbClr val="F26B43"/>
          </p15:clr>
        </p15:guide>
        <p15:guide id="8" pos="279">
          <p15:clr>
            <a:srgbClr val="F26B43"/>
          </p15:clr>
        </p15:guide>
        <p15:guide id="9" orient="horz" pos="3819">
          <p15:clr>
            <a:srgbClr val="F26B43"/>
          </p15:clr>
        </p15:guide>
        <p15:guide id="10" orient="horz" pos="4110">
          <p15:clr>
            <a:srgbClr val="F26B43"/>
          </p15:clr>
        </p15:guide>
        <p15:guide id="11" orient="horz" pos="1310">
          <p15:clr>
            <a:srgbClr val="F26B43"/>
          </p15:clr>
        </p15:guide>
        <p15:guide id="12" pos="486">
          <p15:clr>
            <a:srgbClr val="F26B43"/>
          </p15:clr>
        </p15:guide>
        <p15:guide id="13" pos="7194">
          <p15:clr>
            <a:srgbClr val="F26B43"/>
          </p15:clr>
        </p15:guide>
        <p15:guide id="14" orient="horz" pos="38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react-spring/zustand" TargetMode="External"/><Relationship Id="rId13" Type="http://schemas.openxmlformats.org/officeDocument/2006/relationships/hyperlink" Target="https://react-three-fiber-demo.vercel.app/" TargetMode="External"/><Relationship Id="rId3" Type="http://schemas.openxmlformats.org/officeDocument/2006/relationships/hyperlink" Target="https://github.com/react-spring/drei" TargetMode="External"/><Relationship Id="rId7" Type="http://schemas.openxmlformats.org/officeDocument/2006/relationships/hyperlink" Target="https://github.com/react-spring/use-cannon" TargetMode="External"/><Relationship Id="rId12" Type="http://schemas.openxmlformats.org/officeDocument/2006/relationships/hyperlink" Target="https://github.com/vLX42/react-three-fiber-demo" TargetMode="External"/><Relationship Id="rId2" Type="http://schemas.openxmlformats.org/officeDocument/2006/relationships/hyperlink" Target="https://github.com/react-spring/gltfjsx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react-spring/react-xr" TargetMode="External"/><Relationship Id="rId11" Type="http://schemas.openxmlformats.org/officeDocument/2006/relationships/hyperlink" Target="https://github.com/pmndrs/leva" TargetMode="External"/><Relationship Id="rId5" Type="http://schemas.openxmlformats.org/officeDocument/2006/relationships/hyperlink" Target="https://github.com/react-spring/react-three-flex" TargetMode="External"/><Relationship Id="rId10" Type="http://schemas.openxmlformats.org/officeDocument/2006/relationships/hyperlink" Target="https://github.com/react-spring/react-use-gesture" TargetMode="External"/><Relationship Id="rId4" Type="http://schemas.openxmlformats.org/officeDocument/2006/relationships/hyperlink" Target="https://github.com/react-spring/react-postprocessing" TargetMode="External"/><Relationship Id="rId9" Type="http://schemas.openxmlformats.org/officeDocument/2006/relationships/hyperlink" Target="https://github.com/react-spring/react-spr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 descr="A screenshot of a video game&#10;&#10;Description automatically generated">
            <a:extLst>
              <a:ext uri="{FF2B5EF4-FFF2-40B4-BE49-F238E27FC236}">
                <a16:creationId xmlns:a16="http://schemas.microsoft.com/office/drawing/2014/main" id="{1E798273-61AC-4889-8A61-CD05DDD4B33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/>
          <a:srcRect t="1338" b="1338"/>
          <a:stretch/>
        </p:blipFill>
        <p:spPr>
          <a:xfrm>
            <a:off x="379489" y="209550"/>
            <a:ext cx="11593360" cy="6419849"/>
          </a:xfrm>
        </p:spPr>
      </p:pic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E918780-A87E-4D40-9AB2-F65C9493B0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82BE80-BBFC-463E-9A71-808CA30D06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DFDS Bold"/>
                <a:cs typeface="DFDS Bold"/>
              </a:rPr>
              <a:t>Adding a Dimension to React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C2CD584-D091-4ED5-BDC3-89CE217359B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>
                <a:latin typeface="DFDS Bold"/>
                <a:cs typeface="DFDS Bold"/>
              </a:rPr>
              <a:t>React Three Fiber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6B45B5-B24E-4C07-AB1E-CBFFB29C9EB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a-DK" b="0" dirty="0">
                <a:latin typeface="DFDS Light"/>
              </a:rPr>
              <a:t>August 26</a:t>
            </a:r>
            <a:r>
              <a:rPr lang="da-DK" dirty="0">
                <a:latin typeface="DFDS Light"/>
              </a:rPr>
              <a:t>h 2021</a:t>
            </a:r>
            <a:endParaRPr lang="en-US" b="0" dirty="0">
              <a:latin typeface="DFDS Light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02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9A37F36-82BC-4CBE-964F-C84330B628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DFDS Bold"/>
                <a:cs typeface="DFDS Bold"/>
              </a:rPr>
              <a:t>A case study on how not to do i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A910E1-92F8-4425-BCA9-BDF806590DC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r>
              <a:rPr lang="en-US" dirty="0">
                <a:latin typeface="DFDS Light"/>
              </a:rPr>
              <a:t>My goal was to play create some glass morphism with some 3D effects.</a:t>
            </a:r>
            <a:endParaRPr lang="en-US" dirty="0"/>
          </a:p>
          <a:p>
            <a:pPr lvl="1"/>
            <a:r>
              <a:rPr lang="en-US" dirty="0">
                <a:latin typeface="DFDS Light"/>
              </a:rPr>
              <a:t>With some cool background effect – Animated SVG</a:t>
            </a:r>
          </a:p>
          <a:p>
            <a:pPr lvl="1"/>
            <a:r>
              <a:rPr lang="en-US" dirty="0">
                <a:latin typeface="DFDS Light"/>
              </a:rPr>
              <a:t>3D scroll effect</a:t>
            </a:r>
            <a:endParaRPr lang="en-US" dirty="0"/>
          </a:p>
          <a:p>
            <a:endParaRPr lang="en-US" dirty="0"/>
          </a:p>
          <a:p>
            <a:r>
              <a:rPr lang="en-US" dirty="0">
                <a:latin typeface="DFDS Light"/>
              </a:rPr>
              <a:t>The result was ultra-low FPS and me losing interest in project :)</a:t>
            </a:r>
            <a:endParaRPr lang="en-US" dirty="0"/>
          </a:p>
          <a:p>
            <a:pPr lvl="1"/>
            <a:r>
              <a:rPr lang="en-US" dirty="0">
                <a:latin typeface="DFDS Light"/>
              </a:rPr>
              <a:t>Blur effects are to CPU expensive </a:t>
            </a:r>
            <a:endParaRPr lang="en-US" dirty="0"/>
          </a:p>
          <a:p>
            <a:pPr lvl="1"/>
            <a:r>
              <a:rPr lang="en-US" dirty="0">
                <a:latin typeface="DFDS Light"/>
              </a:rPr>
              <a:t>Rendering errors</a:t>
            </a:r>
            <a:endParaRPr lang="en-US" dirty="0"/>
          </a:p>
          <a:p>
            <a:endParaRPr lang="en-US" dirty="0"/>
          </a:p>
          <a:p>
            <a:r>
              <a:rPr lang="en-US" dirty="0">
                <a:latin typeface="DFDS Light"/>
              </a:rPr>
              <a:t>There is an easier solutions out there to do cool effects</a:t>
            </a:r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3DEAE9-6746-49B4-99DA-9FBA67A09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DFDS Bold"/>
                <a:cs typeface="DFDS Bold"/>
              </a:rPr>
              <a:t>Stop trying to do 3D effects with CSS</a:t>
            </a:r>
            <a:endParaRPr lang="en-US" dirty="0">
              <a:cs typeface="DFDS Bold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B392FC-F947-486D-8CDB-7DF5ECA577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43FA5C4-B661-4F11-9DF6-FF4B7FBE983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0EEB2C-5D9C-4F49-9EA7-425C63B693D3}" type="datetime1">
              <a:rPr lang="en-GB" smtClean="0"/>
              <a:t>26/08/2021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293ED67-87C6-48A2-A37A-3EF8BB6655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CBD37A7-CD49-419A-92C2-091C87B28C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2</a:t>
            </a:fld>
            <a:endParaRPr lang="en-GB"/>
          </a:p>
        </p:txBody>
      </p:sp>
      <p:pic>
        <p:nvPicPr>
          <p:cNvPr id="9" name="Picture 9" descr="Shape, background pattern, arrow&#10;&#10;Description automatically generated">
            <a:extLst>
              <a:ext uri="{FF2B5EF4-FFF2-40B4-BE49-F238E27FC236}">
                <a16:creationId xmlns:a16="http://schemas.microsoft.com/office/drawing/2014/main" id="{20216656-18DC-4031-9CB3-2434995FD2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92207" y="2121226"/>
            <a:ext cx="2743200" cy="1385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94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D0D6E15-E3B1-41CC-A71E-3017516DA1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979719"/>
            <a:ext cx="11306175" cy="443198"/>
          </a:xfrm>
        </p:spPr>
        <p:txBody>
          <a:bodyPr/>
          <a:lstStyle/>
          <a:p>
            <a:r>
              <a:rPr lang="en-US" dirty="0">
                <a:latin typeface="DFDS Bold"/>
                <a:cs typeface="DFDS Bold"/>
              </a:rPr>
              <a:t>A WebGL library created by Ricardo Cabello in 2010 and have 1300 contributors on GitHub</a:t>
            </a:r>
            <a:endParaRPr lang="en-US" dirty="0"/>
          </a:p>
        </p:txBody>
      </p:sp>
      <p:pic>
        <p:nvPicPr>
          <p:cNvPr id="9" name="Picture 9" descr="Text&#10;&#10;Description automatically generated">
            <a:extLst>
              <a:ext uri="{FF2B5EF4-FFF2-40B4-BE49-F238E27FC236}">
                <a16:creationId xmlns:a16="http://schemas.microsoft.com/office/drawing/2014/main" id="{9150ECBE-AD44-4666-A588-E306A7FFBDE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332422" y="1564459"/>
            <a:ext cx="3237067" cy="4112363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970BB1E-187E-4FCA-8059-E22E4CAF6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38163"/>
            <a:ext cx="11306175" cy="470797"/>
          </a:xfrm>
        </p:spPr>
        <p:txBody>
          <a:bodyPr/>
          <a:lstStyle/>
          <a:p>
            <a:r>
              <a:rPr lang="en-US" dirty="0">
                <a:latin typeface="DFDS Bold"/>
                <a:cs typeface="DFDS Bold"/>
              </a:rPr>
              <a:t>Three.js to the rescu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9FCE02-125C-4AD2-A386-6C4ED3EE0D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C1B0EFA-32FA-4131-A15F-6AE940972A5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0EEB2C-5D9C-4F49-9EA7-425C63B693D3}" type="datetime1">
              <a:rPr lang="en-GB" smtClean="0"/>
              <a:t>26/08/2021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CA69085-A51F-4B3E-AB40-14C34729C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881C9A4-EAB0-4926-8172-0CDB1ADFFC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3</a:t>
            </a:fld>
            <a:endParaRPr lang="en-GB"/>
          </a:p>
        </p:txBody>
      </p:sp>
      <p:pic>
        <p:nvPicPr>
          <p:cNvPr id="10" name="Picture 10" descr="A picture containing icon&#10;&#10;Description automatically generated">
            <a:extLst>
              <a:ext uri="{FF2B5EF4-FFF2-40B4-BE49-F238E27FC236}">
                <a16:creationId xmlns:a16="http://schemas.microsoft.com/office/drawing/2014/main" id="{2705B948-02FC-45E3-B47E-9920DBDFCD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1048" y="2890319"/>
            <a:ext cx="2743200" cy="204577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FB2F616-6E3D-489F-A6C5-3E29DACE0D97}"/>
              </a:ext>
            </a:extLst>
          </p:cNvPr>
          <p:cNvSpPr txBox="1"/>
          <p:nvPr/>
        </p:nvSpPr>
        <p:spPr>
          <a:xfrm>
            <a:off x="4903338" y="3684525"/>
            <a:ext cx="1614312" cy="4431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200" dirty="0">
                <a:solidFill>
                  <a:schemeClr val="tx2"/>
                </a:solidFill>
              </a:rPr>
              <a:t>=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147E35-6BE9-4454-99DF-A25DB9B30D29}"/>
              </a:ext>
            </a:extLst>
          </p:cNvPr>
          <p:cNvSpPr txBox="1"/>
          <p:nvPr/>
        </p:nvSpPr>
        <p:spPr>
          <a:xfrm>
            <a:off x="8432469" y="3690471"/>
            <a:ext cx="1614312" cy="4431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200" dirty="0">
                <a:solidFill>
                  <a:schemeClr val="tx2"/>
                </a:solidFill>
              </a:rPr>
              <a:t>=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A67E93-E3B2-493F-A178-3D024792FD5C}"/>
              </a:ext>
            </a:extLst>
          </p:cNvPr>
          <p:cNvSpPr txBox="1"/>
          <p:nvPr/>
        </p:nvSpPr>
        <p:spPr>
          <a:xfrm>
            <a:off x="5282204" y="5526741"/>
            <a:ext cx="6818488" cy="2492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/>
              <a:t>https://codepen.io/chadritchie/pen/ykciH?editors=0010</a:t>
            </a:r>
          </a:p>
        </p:txBody>
      </p:sp>
      <p:pic>
        <p:nvPicPr>
          <p:cNvPr id="3" name="Picture 14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2717EFB7-EA47-4F79-80E5-8A521AE5C6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76447" y="2379606"/>
            <a:ext cx="2743200" cy="281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035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D0D6E15-E3B1-41CC-A71E-3017516DA1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1347272"/>
            <a:ext cx="11306175" cy="443198"/>
          </a:xfrm>
        </p:spPr>
        <p:txBody>
          <a:bodyPr/>
          <a:lstStyle/>
          <a:p>
            <a:r>
              <a:rPr lang="en-US">
                <a:latin typeface="DFDS Bold"/>
                <a:cs typeface="DFDS Bold"/>
              </a:rPr>
              <a:t>React is handling the component tree and we have different renders like ReactDom and React-Nativ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70BB1E-187E-4FCA-8059-E22E4CAF6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DFDS Bold"/>
                <a:cs typeface="DFDS Bold"/>
              </a:rPr>
              <a:t>What does this have to do with React.js?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9FCE02-125C-4AD2-A386-6C4ED3EE0D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C1B0EFA-32FA-4131-A15F-6AE940972A5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0EEB2C-5D9C-4F49-9EA7-425C63B693D3}" type="datetime1">
              <a:rPr lang="en-GB" smtClean="0"/>
              <a:t>26/08/2021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CA69085-A51F-4B3E-AB40-14C34729C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881C9A4-EAB0-4926-8172-0CDB1ADFFC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F1A01C4-4FB0-4E5D-BB6F-7EF6D7366A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2913" y="2066738"/>
            <a:ext cx="11306175" cy="3821113"/>
          </a:xfrm>
        </p:spPr>
        <p:txBody>
          <a:bodyPr vert="horz" wrap="square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dirty="0">
                <a:latin typeface="DFDS Light"/>
              </a:rPr>
              <a:t>Now we have a new render called React-Three-Fiber and it is converts a React tree into underlying three.js calls. Just like we </a:t>
            </a:r>
            <a:r>
              <a:rPr lang="en-US">
                <a:latin typeface="DFDS Light"/>
              </a:rPr>
              <a:t>have in React Jsx</a:t>
            </a:r>
            <a:endParaRPr lang="en-US"/>
          </a:p>
          <a:p>
            <a:pPr marL="0" indent="0">
              <a:buNone/>
            </a:pPr>
            <a:endParaRPr lang="en-US" dirty="0">
              <a:latin typeface="DFDS Light"/>
            </a:endParaRPr>
          </a:p>
          <a:p>
            <a:pPr marL="0" indent="0">
              <a:buNone/>
            </a:pPr>
            <a:endParaRPr lang="en-US" dirty="0">
              <a:latin typeface="DFDS Light"/>
            </a:endParaRPr>
          </a:p>
          <a:p>
            <a:pPr marL="0" indent="0">
              <a:buNone/>
            </a:pPr>
            <a:endParaRPr lang="en-US" dirty="0">
              <a:latin typeface="DFDS Light"/>
            </a:endParaRPr>
          </a:p>
          <a:p>
            <a:pPr marL="0" indent="0">
              <a:buNone/>
            </a:pPr>
            <a:endParaRPr lang="en-US" dirty="0">
              <a:latin typeface="DFDS Light"/>
            </a:endParaRPr>
          </a:p>
          <a:p>
            <a:pPr marL="0" indent="0">
              <a:buNone/>
            </a:pPr>
            <a:endParaRPr lang="en-US" dirty="0">
              <a:latin typeface="DFDS Light"/>
            </a:endParaRPr>
          </a:p>
          <a:p>
            <a:pPr marL="0" indent="0">
              <a:buNone/>
            </a:pPr>
            <a:r>
              <a:rPr lang="en-US">
                <a:latin typeface="DFDS Light"/>
              </a:rPr>
              <a:t>React-Three-Fiber does the same but generates three.js primitives instead </a:t>
            </a:r>
            <a:endParaRPr lang="en-US"/>
          </a:p>
          <a:p>
            <a:pPr marL="0" indent="0">
              <a:buNone/>
            </a:pPr>
            <a:endParaRPr lang="en-US" dirty="0">
              <a:latin typeface="DFDS Light"/>
            </a:endParaRPr>
          </a:p>
          <a:p>
            <a:pPr marL="0" indent="0">
              <a:buNone/>
            </a:pPr>
            <a:br>
              <a:rPr lang="en-US" dirty="0">
                <a:latin typeface="DFDS Light"/>
              </a:rPr>
            </a:br>
            <a:endParaRPr lang="en-US"/>
          </a:p>
        </p:txBody>
      </p:sp>
      <p:pic>
        <p:nvPicPr>
          <p:cNvPr id="18" name="Picture 18" descr="Text&#10;&#10;Description automatically generated">
            <a:extLst>
              <a:ext uri="{FF2B5EF4-FFF2-40B4-BE49-F238E27FC236}">
                <a16:creationId xmlns:a16="http://schemas.microsoft.com/office/drawing/2014/main" id="{B773FF10-E51D-41C2-92E3-E277F8FC54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2212" y="2477208"/>
            <a:ext cx="3307976" cy="1352257"/>
          </a:xfrm>
          <a:prstGeom prst="rect">
            <a:avLst/>
          </a:prstGeom>
        </p:spPr>
      </p:pic>
      <p:pic>
        <p:nvPicPr>
          <p:cNvPr id="19" name="Picture 19" descr="Text&#10;&#10;Description automatically generated">
            <a:extLst>
              <a:ext uri="{FF2B5EF4-FFF2-40B4-BE49-F238E27FC236}">
                <a16:creationId xmlns:a16="http://schemas.microsoft.com/office/drawing/2014/main" id="{9484F8C1-744B-420A-97BF-03B31061D8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7694" y="2473207"/>
            <a:ext cx="2743200" cy="1355774"/>
          </a:xfrm>
          <a:prstGeom prst="rect">
            <a:avLst/>
          </a:prstGeom>
        </p:spPr>
      </p:pic>
      <p:pic>
        <p:nvPicPr>
          <p:cNvPr id="20" name="Picture 20">
            <a:extLst>
              <a:ext uri="{FF2B5EF4-FFF2-40B4-BE49-F238E27FC236}">
                <a16:creationId xmlns:a16="http://schemas.microsoft.com/office/drawing/2014/main" id="{86D89517-4D7C-494B-9A0B-6B942C461B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5036" y="4402318"/>
            <a:ext cx="4159623" cy="1208941"/>
          </a:xfrm>
          <a:prstGeom prst="rect">
            <a:avLst/>
          </a:prstGeom>
        </p:spPr>
      </p:pic>
      <p:pic>
        <p:nvPicPr>
          <p:cNvPr id="21" name="Picture 21">
            <a:extLst>
              <a:ext uri="{FF2B5EF4-FFF2-40B4-BE49-F238E27FC236}">
                <a16:creationId xmlns:a16="http://schemas.microsoft.com/office/drawing/2014/main" id="{BB27F0C5-F1FA-4DF1-9DA6-83C0951E3A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5635" y="4397836"/>
            <a:ext cx="4191000" cy="1213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56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D0D6E15-E3B1-41CC-A71E-3017516DA1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395" y="1194872"/>
            <a:ext cx="11306175" cy="443198"/>
          </a:xfrm>
        </p:spPr>
        <p:txBody>
          <a:bodyPr/>
          <a:lstStyle/>
          <a:p>
            <a:r>
              <a:rPr lang="en-US">
                <a:latin typeface="DFDS Bold"/>
                <a:cs typeface="DFDS Bold"/>
              </a:rPr>
              <a:t>Now let’s  us create the same box writen in React.Js with React-three-fibe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70BB1E-187E-4FCA-8059-E22E4CAF6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DFDS Bold"/>
                <a:cs typeface="DFDS Bold"/>
              </a:rPr>
              <a:t>React Three Fiber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9FCE02-125C-4AD2-A386-6C4ED3EE0D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C1B0EFA-32FA-4131-A15F-6AE940972A5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0EEB2C-5D9C-4F49-9EA7-425C63B693D3}" type="datetime1">
              <a:rPr lang="en-GB" smtClean="0"/>
              <a:t>26/08/2021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CA69085-A51F-4B3E-AB40-14C34729C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881C9A4-EAB0-4926-8172-0CDB1ADFFC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5</a:t>
            </a:fld>
            <a:endParaRPr lang="en-GB"/>
          </a:p>
        </p:txBody>
      </p:sp>
      <p:pic>
        <p:nvPicPr>
          <p:cNvPr id="10" name="Picture 10" descr="A picture containing icon&#10;&#10;Description automatically generated">
            <a:extLst>
              <a:ext uri="{FF2B5EF4-FFF2-40B4-BE49-F238E27FC236}">
                <a16:creationId xmlns:a16="http://schemas.microsoft.com/office/drawing/2014/main" id="{2705B948-02FC-45E3-B47E-9920DBDFCD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9272" y="3123400"/>
            <a:ext cx="2308412" cy="172304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FB2F616-6E3D-489F-A6C5-3E29DACE0D97}"/>
              </a:ext>
            </a:extLst>
          </p:cNvPr>
          <p:cNvSpPr txBox="1"/>
          <p:nvPr/>
        </p:nvSpPr>
        <p:spPr>
          <a:xfrm>
            <a:off x="5523256" y="3763516"/>
            <a:ext cx="1614312" cy="4431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200" dirty="0">
                <a:solidFill>
                  <a:schemeClr val="tx2"/>
                </a:solidFill>
              </a:rPr>
              <a:t>=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147E35-6BE9-4454-99DF-A25DB9B30D29}"/>
              </a:ext>
            </a:extLst>
          </p:cNvPr>
          <p:cNvSpPr txBox="1"/>
          <p:nvPr/>
        </p:nvSpPr>
        <p:spPr>
          <a:xfrm>
            <a:off x="8513151" y="3708400"/>
            <a:ext cx="1614312" cy="4431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200" dirty="0">
                <a:solidFill>
                  <a:schemeClr val="tx2"/>
                </a:solidFill>
              </a:rPr>
              <a:t>=</a:t>
            </a: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5F8B5554-11C3-403F-981B-9606394852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9882" y="2402869"/>
            <a:ext cx="2743200" cy="2877015"/>
          </a:xfrm>
          <a:prstGeom prst="rect">
            <a:avLst/>
          </a:prstGeom>
        </p:spPr>
      </p:pic>
      <p:pic>
        <p:nvPicPr>
          <p:cNvPr id="14" name="Picture 14" descr="Text&#10;&#10;Description automatically generated">
            <a:extLst>
              <a:ext uri="{FF2B5EF4-FFF2-40B4-BE49-F238E27FC236}">
                <a16:creationId xmlns:a16="http://schemas.microsoft.com/office/drawing/2014/main" id="{914CB767-E15D-4796-86C2-48065273F73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/>
          <a:stretch>
            <a:fillRect/>
          </a:stretch>
        </p:blipFill>
        <p:spPr>
          <a:xfrm>
            <a:off x="297685" y="1631950"/>
            <a:ext cx="5034466" cy="4623454"/>
          </a:xfrm>
        </p:spPr>
      </p:pic>
    </p:spTree>
    <p:extLst>
      <p:ext uri="{BB962C8B-B14F-4D97-AF65-F5344CB8AC3E}">
        <p14:creationId xmlns:p14="http://schemas.microsoft.com/office/powerpoint/2010/main" val="395766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AA1122-C9C5-421A-9199-BFA93D1000A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F4871F-4EF9-432B-BD46-8462594E9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2528328"/>
            <a:ext cx="11306175" cy="775597"/>
          </a:xfrm>
        </p:spPr>
        <p:txBody>
          <a:bodyPr/>
          <a:lstStyle/>
          <a:p>
            <a:pPr algn="ctr"/>
            <a:r>
              <a:rPr lang="en-US" sz="4400">
                <a:latin typeface="DFDS Bold"/>
                <a:cs typeface="DFDS Bold"/>
              </a:rPr>
              <a:t>DEMO</a:t>
            </a:r>
            <a:endParaRPr lang="en-US" sz="4400">
              <a:cs typeface="DFDS Bold" panose="02000000000000000000" pitchFamily="50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BD9377-9FB2-4DC6-8008-2EF4C95356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00D1E16-ABA4-4A92-8CF3-080ACA33860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0EEB2C-5D9C-4F49-9EA7-425C63B693D3}" type="datetime1">
              <a:rPr lang="en-GB" smtClean="0"/>
              <a:t>26/08/2021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95F4190-BACB-4CCE-A569-6420DEE3A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963136-CE62-4D43-A157-28AD30D6800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107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D22751-C15D-469B-82D9-7E923B0488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2913" y="1622986"/>
            <a:ext cx="11306175" cy="4439677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>
                <a:latin typeface="DFDS Light"/>
              </a:rPr>
              <a:t>Package to checkout: </a:t>
            </a:r>
            <a:endParaRPr lang="en-US" dirty="0"/>
          </a:p>
          <a:p>
            <a:pPr lvl="1"/>
            <a:r>
              <a:rPr lang="en-US" dirty="0">
                <a:latin typeface="DFDS Light"/>
                <a:hlinkClick r:id="rId2"/>
              </a:rPr>
              <a:t>@react-three/gltfjsx</a:t>
            </a:r>
            <a:r>
              <a:rPr lang="en-US" dirty="0">
                <a:latin typeface="DFDS Light"/>
              </a:rPr>
              <a:t> – turns GLTFs into JSX components</a:t>
            </a:r>
          </a:p>
          <a:p>
            <a:pPr lvl="1"/>
            <a:r>
              <a:rPr lang="en-US" dirty="0">
                <a:latin typeface="DFDS Light"/>
                <a:hlinkClick r:id="rId3"/>
              </a:rPr>
              <a:t>@react-three/drei</a:t>
            </a:r>
            <a:r>
              <a:rPr lang="en-US" dirty="0">
                <a:latin typeface="DFDS Light"/>
              </a:rPr>
              <a:t> – useful helpers for react-three-fiber</a:t>
            </a:r>
            <a:endParaRPr lang="en-US" dirty="0"/>
          </a:p>
          <a:p>
            <a:pPr lvl="1"/>
            <a:r>
              <a:rPr lang="en-US" dirty="0">
                <a:latin typeface="DFDS Light"/>
                <a:hlinkClick r:id="rId4"/>
              </a:rPr>
              <a:t>@react-three/postprocessing</a:t>
            </a:r>
            <a:r>
              <a:rPr lang="en-US" dirty="0">
                <a:latin typeface="DFDS Light"/>
              </a:rPr>
              <a:t> – post-processing effects</a:t>
            </a:r>
            <a:endParaRPr lang="en-US" dirty="0"/>
          </a:p>
          <a:p>
            <a:pPr lvl="1"/>
            <a:r>
              <a:rPr lang="en-US" dirty="0">
                <a:latin typeface="DFDS Light"/>
                <a:hlinkClick r:id="rId5"/>
              </a:rPr>
              <a:t>@react-three/flex</a:t>
            </a:r>
            <a:r>
              <a:rPr lang="en-US" dirty="0">
                <a:latin typeface="DFDS Light"/>
              </a:rPr>
              <a:t> – flexbox for react-three-fiber</a:t>
            </a:r>
            <a:endParaRPr lang="en-US" dirty="0"/>
          </a:p>
          <a:p>
            <a:pPr lvl="1"/>
            <a:r>
              <a:rPr lang="en-US" dirty="0">
                <a:latin typeface="DFDS Light"/>
                <a:hlinkClick r:id="rId6"/>
              </a:rPr>
              <a:t>@react-three/xr</a:t>
            </a:r>
            <a:r>
              <a:rPr lang="en-US" dirty="0">
                <a:latin typeface="DFDS Light"/>
              </a:rPr>
              <a:t> – VR/AR controllers and events</a:t>
            </a:r>
            <a:endParaRPr lang="en-US" dirty="0"/>
          </a:p>
          <a:p>
            <a:pPr lvl="1"/>
            <a:r>
              <a:rPr lang="en-US" dirty="0">
                <a:latin typeface="DFDS Light"/>
                <a:hlinkClick r:id="rId7"/>
              </a:rPr>
              <a:t>@react-three/cannon</a:t>
            </a:r>
            <a:r>
              <a:rPr lang="en-US" dirty="0">
                <a:latin typeface="DFDS Light"/>
              </a:rPr>
              <a:t> – physics based hooks</a:t>
            </a:r>
            <a:endParaRPr lang="en-US" dirty="0"/>
          </a:p>
          <a:p>
            <a:pPr lvl="1"/>
            <a:r>
              <a:rPr lang="en-US" dirty="0">
                <a:latin typeface="DFDS Light"/>
                <a:hlinkClick r:id="rId8"/>
              </a:rPr>
              <a:t>zustand</a:t>
            </a:r>
            <a:r>
              <a:rPr lang="en-US" dirty="0">
                <a:latin typeface="DFDS Light"/>
              </a:rPr>
              <a:t> – state management</a:t>
            </a:r>
            <a:endParaRPr lang="en-US" dirty="0"/>
          </a:p>
          <a:p>
            <a:pPr lvl="1"/>
            <a:r>
              <a:rPr lang="en-US" dirty="0">
                <a:latin typeface="DFDS Light"/>
                <a:hlinkClick r:id="rId9"/>
              </a:rPr>
              <a:t>react-spring</a:t>
            </a:r>
            <a:r>
              <a:rPr lang="en-US" dirty="0">
                <a:latin typeface="DFDS Light"/>
              </a:rPr>
              <a:t> – a spring-physics-based animation library</a:t>
            </a:r>
            <a:endParaRPr lang="en-US" dirty="0"/>
          </a:p>
          <a:p>
            <a:pPr lvl="1"/>
            <a:r>
              <a:rPr lang="en-US" dirty="0">
                <a:latin typeface="DFDS Light"/>
                <a:hlinkClick r:id="rId10"/>
              </a:rPr>
              <a:t>react-use-gesture</a:t>
            </a:r>
            <a:r>
              <a:rPr lang="en-US" dirty="0">
                <a:latin typeface="DFDS Light"/>
              </a:rPr>
              <a:t> – mouse/touch gestures</a:t>
            </a:r>
            <a:endParaRPr lang="en-US" dirty="0"/>
          </a:p>
          <a:p>
            <a:pPr lvl="1"/>
            <a:r>
              <a:rPr lang="en-US" dirty="0">
                <a:latin typeface="DFDS Light"/>
                <a:hlinkClick r:id="rId11"/>
              </a:rPr>
              <a:t>leva</a:t>
            </a:r>
            <a:r>
              <a:rPr lang="en-US" dirty="0">
                <a:latin typeface="DFDS Light"/>
              </a:rPr>
              <a:t> – create GUI controls in seconds</a:t>
            </a:r>
          </a:p>
          <a:p>
            <a:endParaRPr lang="en-US" dirty="0">
              <a:latin typeface="DFDS Light"/>
            </a:endParaRPr>
          </a:p>
          <a:p>
            <a:r>
              <a:rPr lang="en-US" dirty="0">
                <a:latin typeface="DFDS Light"/>
              </a:rPr>
              <a:t>Demo repo: </a:t>
            </a:r>
            <a:r>
              <a:rPr lang="en-US" dirty="0">
                <a:latin typeface="DFDS Light"/>
                <a:hlinkClick r:id="rId12"/>
              </a:rPr>
              <a:t>https://github.com/vLX42/react-three-fiber-demo</a:t>
            </a:r>
            <a:endParaRPr lang="en-US" dirty="0"/>
          </a:p>
          <a:p>
            <a:r>
              <a:rPr lang="en-US" dirty="0">
                <a:latin typeface="DFDS Light"/>
              </a:rPr>
              <a:t>Demo link: </a:t>
            </a:r>
            <a:r>
              <a:rPr lang="en-US" dirty="0">
                <a:latin typeface="DFDS Light"/>
                <a:hlinkClick r:id="rId13"/>
              </a:rPr>
              <a:t>https://react-three-fiber-demo.vercel.app/</a:t>
            </a: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8E1627-1EA4-42B7-A451-FC8596A55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DFDS Bold"/>
                <a:cs typeface="DFDS Bold"/>
              </a:rPr>
              <a:t>More information on React-Three-Fiber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7A0420-325A-4FF3-9A51-8CF709E930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029FF0E-B3CF-4E88-AC55-592B7DD192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0EEB2C-5D9C-4F49-9EA7-425C63B693D3}" type="datetime1">
              <a:rPr lang="en-GB" smtClean="0"/>
              <a:t>26/08/2021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6048AC9-345D-401C-A364-C8ED2E5515C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2C1005A-C7F0-456C-87A1-B0D3C661284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36BB336-FA68-49FA-BBEA-E8420972406D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496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wFNTUVSKW.R_W9KaDpuA"/>
</p:tagLst>
</file>

<file path=ppt/theme/theme1.xml><?xml version="1.0" encoding="utf-8"?>
<a:theme xmlns:a="http://schemas.openxmlformats.org/drawingml/2006/main" name="DFDS 16:9">
  <a:themeElements>
    <a:clrScheme name="190626_DFDS">
      <a:dk1>
        <a:srgbClr val="000000"/>
      </a:dk1>
      <a:lt1>
        <a:srgbClr val="FFFFFF"/>
      </a:lt1>
      <a:dk2>
        <a:srgbClr val="4D4E4C"/>
      </a:dk2>
      <a:lt2>
        <a:srgbClr val="EDF0F2"/>
      </a:lt2>
      <a:accent1>
        <a:srgbClr val="002B45"/>
      </a:accent1>
      <a:accent2>
        <a:srgbClr val="1B5786"/>
      </a:accent2>
      <a:accent3>
        <a:srgbClr val="68B2E3"/>
      </a:accent3>
      <a:accent4>
        <a:srgbClr val="4D4E4C"/>
      </a:accent4>
      <a:accent5>
        <a:srgbClr val="B8B8B7"/>
      </a:accent5>
      <a:accent6>
        <a:srgbClr val="ED8B00"/>
      </a:accent6>
      <a:hlink>
        <a:srgbClr val="1B5786"/>
      </a:hlink>
      <a:folHlink>
        <a:srgbClr val="002B45"/>
      </a:folHlink>
    </a:clrScheme>
    <a:fontScheme name="190520_DFDS regular">
      <a:majorFont>
        <a:latin typeface="DFDS"/>
        <a:ea typeface=""/>
        <a:cs typeface=""/>
      </a:majorFont>
      <a:minorFont>
        <a:latin typeface="DFD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300"/>
          </a:spcBef>
          <a:spcAft>
            <a:spcPts val="300"/>
          </a:spcAft>
          <a:defRPr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Bef>
            <a:spcPts val="300"/>
          </a:spcBef>
          <a:spcAft>
            <a:spcPts val="300"/>
          </a:spcAft>
          <a:defRPr smtClean="0">
            <a:solidFill>
              <a:schemeClr val="tx2"/>
            </a:solidFill>
          </a:defRPr>
        </a:defPPr>
      </a:lstStyle>
    </a:txDef>
  </a:objectDefaults>
  <a:extraClrSchemeLst/>
  <a:custClrLst>
    <a:custClr name="Action Medium">
      <a:srgbClr val="C3E0F4"/>
    </a:custClr>
  </a:custClrLst>
  <a:extLst>
    <a:ext uri="{05A4C25C-085E-4340-85A3-A5531E510DB2}">
      <thm15:themeFamily xmlns:thm15="http://schemas.microsoft.com/office/thememl/2012/main" name="Presentation1" id="{AFB85A62-83C6-4658-890D-FDAE7E9BD2D1}" vid="{ECF2FAE1-B639-4E34-B630-FAC52E4EF11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3AB0BBA6380B409BE76D7A9B610FE2" ma:contentTypeVersion="12" ma:contentTypeDescription="Create a new document." ma:contentTypeScope="" ma:versionID="e4eaf23aa6fc99c4fdcd3bb508e6a213">
  <xsd:schema xmlns:xsd="http://www.w3.org/2001/XMLSchema" xmlns:xs="http://www.w3.org/2001/XMLSchema" xmlns:p="http://schemas.microsoft.com/office/2006/metadata/properties" xmlns:ns2="f440aefe-cbf8-426b-96f6-2b065f87b160" xmlns:ns3="c986d513-e19d-438c-8ca5-30f15836b86f" targetNamespace="http://schemas.microsoft.com/office/2006/metadata/properties" ma:root="true" ma:fieldsID="0551906bda3f75f4e3d8d11f9fa099fe" ns2:_="" ns3:_="">
    <xsd:import namespace="f440aefe-cbf8-426b-96f6-2b065f87b160"/>
    <xsd:import namespace="c986d513-e19d-438c-8ca5-30f15836b8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40aefe-cbf8-426b-96f6-2b065f87b1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86d513-e19d-438c-8ca5-30f15836b86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986d513-e19d-438c-8ca5-30f15836b86f">
      <UserInfo>
        <DisplayName>Mitteregger Anika</DisplayName>
        <AccountId>7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24D230C-6028-4EC1-9E1C-936E29DCAC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40aefe-cbf8-426b-96f6-2b065f87b160"/>
    <ds:schemaRef ds:uri="c986d513-e19d-438c-8ca5-30f15836b8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88E029-2D7B-46A5-806B-80A357DE97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A6C70C6-81BF-4B06-BA74-E2519EE4E603}">
  <ds:schemaRefs>
    <ds:schemaRef ds:uri="http://schemas.microsoft.com/office/2006/documentManagement/types"/>
    <ds:schemaRef ds:uri="http://schemas.microsoft.com/office/infopath/2007/PartnerControls"/>
    <ds:schemaRef ds:uri="f440aefe-cbf8-426b-96f6-2b065f87b160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www.w3.org/XML/1998/namespace"/>
    <ds:schemaRef ds:uri="c986d513-e19d-438c-8ca5-30f15836b86f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3</Words>
  <Application>Microsoft Office PowerPoint</Application>
  <PresentationFormat>Widescreen</PresentationFormat>
  <Paragraphs>13</Paragraphs>
  <Slides>7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DFDS 16:9</vt:lpstr>
      <vt:lpstr>Adding a Dimension to React</vt:lpstr>
      <vt:lpstr>Stop trying to do 3D effects with CSS</vt:lpstr>
      <vt:lpstr>Three.js to the rescue</vt:lpstr>
      <vt:lpstr>What does this have to do with React.js?</vt:lpstr>
      <vt:lpstr>React Three Fiber</vt:lpstr>
      <vt:lpstr>DEMO</vt:lpstr>
      <vt:lpstr>More information on React-Three-Fiber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2B Sprint Review</dc:title>
  <dc:creator/>
  <cp:revision>1221</cp:revision>
  <dcterms:created xsi:type="dcterms:W3CDTF">1601-01-01T00:00:00Z</dcterms:created>
  <dcterms:modified xsi:type="dcterms:W3CDTF">2021-08-27T06:4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ontentTypeId">
    <vt:lpwstr>0x010100BC3AB0BBA6380B409BE76D7A9B610FE2</vt:lpwstr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emplateUrl">
    <vt:lpwstr/>
  </property>
  <property fmtid="{D5CDD505-2E9C-101B-9397-08002B2CF9AE}" pid="7" name="ComplianceAssetId">
    <vt:lpwstr/>
  </property>
  <property fmtid="{D5CDD505-2E9C-101B-9397-08002B2CF9AE}" pid="8" name="AuthorIds_UIVersion_4096">
    <vt:lpwstr>13</vt:lpwstr>
  </property>
  <property fmtid="{D5CDD505-2E9C-101B-9397-08002B2CF9AE}" pid="9" name="AuthorIds_UIVersion_6144">
    <vt:lpwstr>15</vt:lpwstr>
  </property>
  <property fmtid="{D5CDD505-2E9C-101B-9397-08002B2CF9AE}" pid="10" name="MSIP_Label_c2458218-87f2-45e0-bab0-e659c30d0ebd_Enabled">
    <vt:lpwstr>True</vt:lpwstr>
  </property>
  <property fmtid="{D5CDD505-2E9C-101B-9397-08002B2CF9AE}" pid="11" name="MSIP_Label_c2458218-87f2-45e0-bab0-e659c30d0ebd_SiteId">
    <vt:lpwstr>73a99466-ad05-4221-9f90-e7142aa2f6c1</vt:lpwstr>
  </property>
  <property fmtid="{D5CDD505-2E9C-101B-9397-08002B2CF9AE}" pid="12" name="MSIP_Label_c2458218-87f2-45e0-bab0-e659c30d0ebd_Owner">
    <vt:lpwstr>chrap@dfds.com</vt:lpwstr>
  </property>
  <property fmtid="{D5CDD505-2E9C-101B-9397-08002B2CF9AE}" pid="13" name="MSIP_Label_c2458218-87f2-45e0-bab0-e659c30d0ebd_SetDate">
    <vt:lpwstr>2020-05-20T12:31:59.3362309Z</vt:lpwstr>
  </property>
  <property fmtid="{D5CDD505-2E9C-101B-9397-08002B2CF9AE}" pid="14" name="MSIP_Label_c2458218-87f2-45e0-bab0-e659c30d0ebd_Name">
    <vt:lpwstr>Public</vt:lpwstr>
  </property>
  <property fmtid="{D5CDD505-2E9C-101B-9397-08002B2CF9AE}" pid="15" name="MSIP_Label_c2458218-87f2-45e0-bab0-e659c30d0ebd_Application">
    <vt:lpwstr>Microsoft Azure Information Protection</vt:lpwstr>
  </property>
  <property fmtid="{D5CDD505-2E9C-101B-9397-08002B2CF9AE}" pid="16" name="MSIP_Label_c2458218-87f2-45e0-bab0-e659c30d0ebd_ActionId">
    <vt:lpwstr>2471dfd2-91c0-4621-9eef-745f91787e96</vt:lpwstr>
  </property>
  <property fmtid="{D5CDD505-2E9C-101B-9397-08002B2CF9AE}" pid="17" name="MSIP_Label_c2458218-87f2-45e0-bab0-e659c30d0ebd_Extended_MSFT_Method">
    <vt:lpwstr>Automatic</vt:lpwstr>
  </property>
  <property fmtid="{D5CDD505-2E9C-101B-9397-08002B2CF9AE}" pid="18" name="Sensitivity">
    <vt:lpwstr>Public</vt:lpwstr>
  </property>
</Properties>
</file>